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20" r:id="rId5"/>
    <p:sldId id="321" r:id="rId13"/>
    <p:sldId id="322" r:id="rId14"/>
    <p:sldId id="323" r:id="rId15"/>
    <p:sldId id="324" r:id="rId16"/>
    <p:sldId id="325" r:id="rId17"/>
  </p:sldIdLst>
  <p:sldSz cx="12192000" cy="6858000"/>
  <p:notesSz cx="6797675" cy="9929813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1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ddels stil 2 – uthev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FD0F851-EC5A-4D38-B0AD-8093EC10F338}" styleName="Lys stil 1 – utheving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5897"/>
  </p:normalViewPr>
  <p:slideViewPr>
    <p:cSldViewPr snapToGrid="0">
      <p:cViewPr varScale="1">
        <p:scale>
          <a:sx n="105" d="100"/>
          <a:sy n="105" d="100"/>
        </p:scale>
        <p:origin x="163" y="302"/>
      </p:cViewPr>
      <p:guideLst>
        <p:guide orient="horz" pos="271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4" d="100"/>
          <a:sy n="94" d="100"/>
        </p:scale>
        <p:origin x="4647" y="72"/>
      </p:cViewPr>
      <p:guideLst/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3" Type="http://schemas.openxmlformats.org/officeDocument/2006/relationships/slide" Target="slides/slide2.xml"/><Relationship Id="rId14" Type="http://schemas.openxmlformats.org/officeDocument/2006/relationships/slide" Target="slides/slide3.xml"/><Relationship Id="rId15" Type="http://schemas.openxmlformats.org/officeDocument/2006/relationships/slide" Target="slides/slide4.xml"/><Relationship Id="rId16" Type="http://schemas.openxmlformats.org/officeDocument/2006/relationships/slide" Target="slides/slide5.xml"/><Relationship Id="rId17" Type="http://schemas.openxmlformats.org/officeDocument/2006/relationships/slide" Target="slides/slide6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tags" Target="../tags/tag406.xml"/><Relationship Id="rId3" Type="http://schemas.openxmlformats.org/officeDocument/2006/relationships/tags" Target="../tags/tag407.xml"/><Relationship Id="rId4" Type="http://schemas.openxmlformats.org/officeDocument/2006/relationships/tags" Target="../tags/tag408.xml"/><Relationship Id="rId5" Type="http://schemas.openxmlformats.org/officeDocument/2006/relationships/tags" Target="../tags/tag40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B67E4A-5177-4C80-92B4-51BD5593B04B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FFF9C8-B4CA-457D-AE9B-2D30E612B3F1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16228-B7CF-47CF-A4AD-D4BB307F0AFE}" type="datetimeFigureOut">
              <a:rPr lang="en-GB" smtClean="0"/>
              <a:t>05/08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6B9E0E-BBD1-44C0-8EAA-4085861F6849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7FE9B-8273-4C75-8F5A-4C40F4B79CA8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6E434-8160-4CED-AB39-C7225611EB5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7327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tags" Target="../tags/tag400.xml"/><Relationship Id="rId3" Type="http://schemas.openxmlformats.org/officeDocument/2006/relationships/tags" Target="../tags/tag401.xml"/><Relationship Id="rId4" Type="http://schemas.openxmlformats.org/officeDocument/2006/relationships/tags" Target="../tags/tag402.xml"/><Relationship Id="rId5" Type="http://schemas.openxmlformats.org/officeDocument/2006/relationships/tags" Target="../tags/tag403.xml"/><Relationship Id="rId6" Type="http://schemas.openxmlformats.org/officeDocument/2006/relationships/tags" Target="../tags/tag404.xml"/><Relationship Id="rId7" Type="http://schemas.openxmlformats.org/officeDocument/2006/relationships/tags" Target="../tags/tag40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50445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29142CCA-F011-46CA-B4AE-D8CB4AFC968E}" type="datetimeFigureOut">
              <a:rPr lang="en-GB" smtClean="0"/>
              <a:pPr/>
              <a:t>05/08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79768" y="4778723"/>
            <a:ext cx="5438140" cy="39098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1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GB" sz="1000" dirty="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50445" y="9431601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0241C740-7330-441A-80F0-A683365F947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1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tags" Target="../tags/tag410.xml"/><Relationship Id="rId2" Type="http://schemas.openxmlformats.org/officeDocument/2006/relationships/tags" Target="../tags/tag411.xml"/><Relationship Id="rId3" Type="http://schemas.openxmlformats.org/officeDocument/2006/relationships/tags" Target="../tags/tag412.xml"/><Relationship Id="rId4" Type="http://schemas.openxmlformats.org/officeDocument/2006/relationships/notesMaster" Target="../notesMasters/notesMaster1.xml"/><Relationship Id="rId5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902607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tags" Target="../tags/tag57.xml"/><Relationship Id="rId3" Type="http://schemas.openxmlformats.org/officeDocument/2006/relationships/tags" Target="../tags/tag58.xml"/><Relationship Id="rId4" Type="http://schemas.openxmlformats.org/officeDocument/2006/relationships/tags" Target="../tags/tag59.xml"/><Relationship Id="rId5" Type="http://schemas.openxmlformats.org/officeDocument/2006/relationships/tags" Target="../tags/tag60.xml"/><Relationship Id="rId6" Type="http://schemas.openxmlformats.org/officeDocument/2006/relationships/tags" Target="../tags/tag61.xml"/><Relationship Id="rId7" Type="http://schemas.openxmlformats.org/officeDocument/2006/relationships/tags" Target="../tags/tag62.xml"/><Relationship Id="rId8" Type="http://schemas.openxmlformats.org/officeDocument/2006/relationships/tags" Target="../tags/tag63.xml"/><Relationship Id="rId9" Type="http://schemas.openxmlformats.org/officeDocument/2006/relationships/slideMaster" Target="../slideMasters/slideMaster1.xml"/><Relationship Id="rId10" Type="http://schemas.openxmlformats.org/officeDocument/2006/relationships/image" Target="../media/image3.jpeg"/><Relationship Id="rId11" Type="http://schemas.openxmlformats.org/officeDocument/2006/relationships/oleObject" Target="../embeddings/oleObject2.bin"/><Relationship Id="rId12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tags" Target="../tags/tag65.xml"/><Relationship Id="rId3" Type="http://schemas.openxmlformats.org/officeDocument/2006/relationships/tags" Target="../tags/tag66.xml"/><Relationship Id="rId4" Type="http://schemas.openxmlformats.org/officeDocument/2006/relationships/tags" Target="../tags/tag67.xml"/><Relationship Id="rId5" Type="http://schemas.openxmlformats.org/officeDocument/2006/relationships/tags" Target="../tags/tag68.xml"/><Relationship Id="rId6" Type="http://schemas.openxmlformats.org/officeDocument/2006/relationships/tags" Target="../tags/tag69.xml"/><Relationship Id="rId7" Type="http://schemas.openxmlformats.org/officeDocument/2006/relationships/tags" Target="../tags/tag70.xml"/><Relationship Id="rId8" Type="http://schemas.openxmlformats.org/officeDocument/2006/relationships/tags" Target="../tags/tag71.xml"/><Relationship Id="rId9" Type="http://schemas.openxmlformats.org/officeDocument/2006/relationships/slideMaster" Target="../slideMasters/slideMaster1.xml"/><Relationship Id="rId10" Type="http://schemas.openxmlformats.org/officeDocument/2006/relationships/oleObject" Target="../embeddings/oleObject2.bin"/><Relationship Id="rId11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72.xml"/><Relationship Id="rId2" Type="http://schemas.openxmlformats.org/officeDocument/2006/relationships/tags" Target="../tags/tag73.xml"/><Relationship Id="rId3" Type="http://schemas.openxmlformats.org/officeDocument/2006/relationships/tags" Target="../tags/tag74.xml"/><Relationship Id="rId4" Type="http://schemas.openxmlformats.org/officeDocument/2006/relationships/tags" Target="../tags/tag75.xml"/><Relationship Id="rId5" Type="http://schemas.openxmlformats.org/officeDocument/2006/relationships/tags" Target="../tags/tag76.xml"/><Relationship Id="rId6" Type="http://schemas.openxmlformats.org/officeDocument/2006/relationships/tags" Target="../tags/tag77.xml"/><Relationship Id="rId7" Type="http://schemas.openxmlformats.org/officeDocument/2006/relationships/tags" Target="../tags/tag78.xml"/><Relationship Id="rId8" Type="http://schemas.openxmlformats.org/officeDocument/2006/relationships/tags" Target="../tags/tag79.xml"/><Relationship Id="rId9" Type="http://schemas.openxmlformats.org/officeDocument/2006/relationships/tags" Target="../tags/tag80.xml"/><Relationship Id="rId10" Type="http://schemas.openxmlformats.org/officeDocument/2006/relationships/tags" Target="../tags/tag81.xml"/><Relationship Id="rId11" Type="http://schemas.openxmlformats.org/officeDocument/2006/relationships/tags" Target="../tags/tag82.xml"/><Relationship Id="rId12" Type="http://schemas.openxmlformats.org/officeDocument/2006/relationships/tags" Target="../tags/tag83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84.xml"/><Relationship Id="rId2" Type="http://schemas.openxmlformats.org/officeDocument/2006/relationships/tags" Target="../tags/tag85.xml"/><Relationship Id="rId3" Type="http://schemas.openxmlformats.org/officeDocument/2006/relationships/tags" Target="../tags/tag86.xml"/><Relationship Id="rId4" Type="http://schemas.openxmlformats.org/officeDocument/2006/relationships/tags" Target="../tags/tag87.xml"/><Relationship Id="rId5" Type="http://schemas.openxmlformats.org/officeDocument/2006/relationships/tags" Target="../tags/tag88.x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Relationship Id="rId9" Type="http://schemas.openxmlformats.org/officeDocument/2006/relationships/tags" Target="../tags/tag92.xml"/><Relationship Id="rId10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93.xml"/><Relationship Id="rId2" Type="http://schemas.openxmlformats.org/officeDocument/2006/relationships/tags" Target="../tags/tag94.xml"/><Relationship Id="rId3" Type="http://schemas.openxmlformats.org/officeDocument/2006/relationships/tags" Target="../tags/tag95.xml"/><Relationship Id="rId4" Type="http://schemas.openxmlformats.org/officeDocument/2006/relationships/tags" Target="../tags/tag96.xml"/><Relationship Id="rId5" Type="http://schemas.openxmlformats.org/officeDocument/2006/relationships/tags" Target="../tags/tag97.xml"/><Relationship Id="rId6" Type="http://schemas.openxmlformats.org/officeDocument/2006/relationships/tags" Target="../tags/tag98.xml"/><Relationship Id="rId7" Type="http://schemas.openxmlformats.org/officeDocument/2006/relationships/tags" Target="../tags/tag99.xml"/><Relationship Id="rId8" Type="http://schemas.openxmlformats.org/officeDocument/2006/relationships/tags" Target="../tags/tag100.xml"/><Relationship Id="rId9" Type="http://schemas.openxmlformats.org/officeDocument/2006/relationships/tags" Target="../tags/tag101.xml"/><Relationship Id="rId10" Type="http://schemas.openxmlformats.org/officeDocument/2006/relationships/tags" Target="../tags/tag102.xml"/><Relationship Id="rId1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tags" Target="../tags/tag107.xml"/><Relationship Id="rId6" Type="http://schemas.openxmlformats.org/officeDocument/2006/relationships/tags" Target="../tags/tag108.xml"/><Relationship Id="rId7" Type="http://schemas.openxmlformats.org/officeDocument/2006/relationships/tags" Target="../tags/tag109.xml"/><Relationship Id="rId8" Type="http://schemas.openxmlformats.org/officeDocument/2006/relationships/tags" Target="../tags/tag110.xml"/><Relationship Id="rId9" Type="http://schemas.openxmlformats.org/officeDocument/2006/relationships/tags" Target="../tags/tag111.xml"/><Relationship Id="rId10" Type="http://schemas.openxmlformats.org/officeDocument/2006/relationships/tags" Target="../tags/tag112.xml"/><Relationship Id="rId11" Type="http://schemas.openxmlformats.org/officeDocument/2006/relationships/tags" Target="../tags/tag113.xml"/><Relationship Id="rId12" Type="http://schemas.openxmlformats.org/officeDocument/2006/relationships/tags" Target="../tags/tag114.xml"/><Relationship Id="rId13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tags" Target="../tags/tag117.xml"/><Relationship Id="rId4" Type="http://schemas.openxmlformats.org/officeDocument/2006/relationships/tags" Target="../tags/tag118.xml"/><Relationship Id="rId5" Type="http://schemas.openxmlformats.org/officeDocument/2006/relationships/tags" Target="../tags/tag119.xml"/><Relationship Id="rId6" Type="http://schemas.openxmlformats.org/officeDocument/2006/relationships/tags" Target="../tags/tag120.xml"/><Relationship Id="rId7" Type="http://schemas.openxmlformats.org/officeDocument/2006/relationships/tags" Target="../tags/tag121.xml"/><Relationship Id="rId8" Type="http://schemas.openxmlformats.org/officeDocument/2006/relationships/tags" Target="../tags/tag122.xml"/><Relationship Id="rId9" Type="http://schemas.openxmlformats.org/officeDocument/2006/relationships/tags" Target="../tags/tag123.xml"/><Relationship Id="rId10" Type="http://schemas.openxmlformats.org/officeDocument/2006/relationships/tags" Target="../tags/tag124.xml"/><Relationship Id="rId11" Type="http://schemas.openxmlformats.org/officeDocument/2006/relationships/tags" Target="../tags/tag125.xml"/><Relationship Id="rId12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26.xml"/><Relationship Id="rId2" Type="http://schemas.openxmlformats.org/officeDocument/2006/relationships/tags" Target="../tags/tag127.xml"/><Relationship Id="rId3" Type="http://schemas.openxmlformats.org/officeDocument/2006/relationships/tags" Target="../tags/tag128.xml"/><Relationship Id="rId4" Type="http://schemas.openxmlformats.org/officeDocument/2006/relationships/tags" Target="../tags/tag129.xml"/><Relationship Id="rId5" Type="http://schemas.openxmlformats.org/officeDocument/2006/relationships/tags" Target="../tags/tag130.xml"/><Relationship Id="rId6" Type="http://schemas.openxmlformats.org/officeDocument/2006/relationships/tags" Target="../tags/tag131.xml"/><Relationship Id="rId7" Type="http://schemas.openxmlformats.org/officeDocument/2006/relationships/tags" Target="../tags/tag132.xml"/><Relationship Id="rId8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134.xml"/><Relationship Id="rId2" Type="http://schemas.openxmlformats.org/officeDocument/2006/relationships/tags" Target="../tags/tag135.xml"/><Relationship Id="rId3" Type="http://schemas.openxmlformats.org/officeDocument/2006/relationships/tags" Target="../tags/tag136.xml"/><Relationship Id="rId4" Type="http://schemas.openxmlformats.org/officeDocument/2006/relationships/tags" Target="../tags/tag137.xml"/><Relationship Id="rId5" Type="http://schemas.openxmlformats.org/officeDocument/2006/relationships/tags" Target="../tags/tag138.xml"/><Relationship Id="rId6" Type="http://schemas.openxmlformats.org/officeDocument/2006/relationships/tags" Target="../tags/tag139.xml"/><Relationship Id="rId7" Type="http://schemas.openxmlformats.org/officeDocument/2006/relationships/tags" Target="../tags/tag140.xml"/><Relationship Id="rId8" Type="http://schemas.openxmlformats.org/officeDocument/2006/relationships/tags" Target="../tags/tag141.xml"/><Relationship Id="rId9" Type="http://schemas.openxmlformats.org/officeDocument/2006/relationships/tags" Target="../tags/tag142.xml"/><Relationship Id="rId10" Type="http://schemas.openxmlformats.org/officeDocument/2006/relationships/tags" Target="../tags/tag143.xml"/><Relationship Id="rId11" Type="http://schemas.openxmlformats.org/officeDocument/2006/relationships/tags" Target="../tags/tag144.xml"/><Relationship Id="rId12" Type="http://schemas.openxmlformats.org/officeDocument/2006/relationships/tags" Target="../tags/tag145.xml"/><Relationship Id="rId13" Type="http://schemas.openxmlformats.org/officeDocument/2006/relationships/tags" Target="../tags/tag146.xml"/><Relationship Id="rId14" Type="http://schemas.openxmlformats.org/officeDocument/2006/relationships/tags" Target="../tags/tag147.xml"/><Relationship Id="rId15" Type="http://schemas.openxmlformats.org/officeDocument/2006/relationships/slideMaster" Target="../slideMasters/slideMaster1.xml"/><Relationship Id="rId16" Type="http://schemas.openxmlformats.org/officeDocument/2006/relationships/image" Target="../media/image4.jp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148.xml"/><Relationship Id="rId2" Type="http://schemas.openxmlformats.org/officeDocument/2006/relationships/tags" Target="../tags/tag149.xml"/><Relationship Id="rId3" Type="http://schemas.openxmlformats.org/officeDocument/2006/relationships/tags" Target="../tags/tag150.xml"/><Relationship Id="rId4" Type="http://schemas.openxmlformats.org/officeDocument/2006/relationships/tags" Target="../tags/tag151.xml"/><Relationship Id="rId5" Type="http://schemas.openxmlformats.org/officeDocument/2006/relationships/tags" Target="../tags/tag152.xml"/><Relationship Id="rId6" Type="http://schemas.openxmlformats.org/officeDocument/2006/relationships/tags" Target="../tags/tag153.xml"/><Relationship Id="rId7" Type="http://schemas.openxmlformats.org/officeDocument/2006/relationships/tags" Target="../tags/tag154.xml"/><Relationship Id="rId8" Type="http://schemas.openxmlformats.org/officeDocument/2006/relationships/tags" Target="../tags/tag155.xml"/><Relationship Id="rId9" Type="http://schemas.openxmlformats.org/officeDocument/2006/relationships/tags" Target="../tags/tag156.xml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tags" Target="../tags/tag13.xml"/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159.xml"/><Relationship Id="rId2" Type="http://schemas.openxmlformats.org/officeDocument/2006/relationships/tags" Target="../tags/tag160.xml"/><Relationship Id="rId3" Type="http://schemas.openxmlformats.org/officeDocument/2006/relationships/tags" Target="../tags/tag161.xml"/><Relationship Id="rId4" Type="http://schemas.openxmlformats.org/officeDocument/2006/relationships/tags" Target="../tags/tag162.xml"/><Relationship Id="rId5" Type="http://schemas.openxmlformats.org/officeDocument/2006/relationships/tags" Target="../tags/tag163.xml"/><Relationship Id="rId6" Type="http://schemas.openxmlformats.org/officeDocument/2006/relationships/tags" Target="../tags/tag164.xml"/><Relationship Id="rId7" Type="http://schemas.openxmlformats.org/officeDocument/2006/relationships/tags" Target="../tags/tag165.xml"/><Relationship Id="rId8" Type="http://schemas.openxmlformats.org/officeDocument/2006/relationships/tags" Target="../tags/tag166.xml"/><Relationship Id="rId9" Type="http://schemas.openxmlformats.org/officeDocument/2006/relationships/tags" Target="../tags/tag167.xml"/><Relationship Id="rId10" Type="http://schemas.openxmlformats.org/officeDocument/2006/relationships/tags" Target="../tags/tag168.xml"/><Relationship Id="rId11" Type="http://schemas.openxmlformats.org/officeDocument/2006/relationships/tags" Target="../tags/tag169.xml"/><Relationship Id="rId12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170.xml"/><Relationship Id="rId2" Type="http://schemas.openxmlformats.org/officeDocument/2006/relationships/tags" Target="../tags/tag171.xml"/><Relationship Id="rId3" Type="http://schemas.openxmlformats.org/officeDocument/2006/relationships/tags" Target="../tags/tag172.xml"/><Relationship Id="rId4" Type="http://schemas.openxmlformats.org/officeDocument/2006/relationships/tags" Target="../tags/tag173.xml"/><Relationship Id="rId5" Type="http://schemas.openxmlformats.org/officeDocument/2006/relationships/tags" Target="../tags/tag174.xml"/><Relationship Id="rId6" Type="http://schemas.openxmlformats.org/officeDocument/2006/relationships/tags" Target="../tags/tag175.xml"/><Relationship Id="rId7" Type="http://schemas.openxmlformats.org/officeDocument/2006/relationships/tags" Target="../tags/tag176.xml"/><Relationship Id="rId8" Type="http://schemas.openxmlformats.org/officeDocument/2006/relationships/tags" Target="../tags/tag177.xml"/><Relationship Id="rId9" Type="http://schemas.openxmlformats.org/officeDocument/2006/relationships/tags" Target="../tags/tag178.xml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184.xml"/><Relationship Id="rId2" Type="http://schemas.openxmlformats.org/officeDocument/2006/relationships/tags" Target="../tags/tag185.xml"/><Relationship Id="rId3" Type="http://schemas.openxmlformats.org/officeDocument/2006/relationships/tags" Target="../tags/tag186.xml"/><Relationship Id="rId4" Type="http://schemas.openxmlformats.org/officeDocument/2006/relationships/tags" Target="../tags/tag187.xml"/><Relationship Id="rId5" Type="http://schemas.openxmlformats.org/officeDocument/2006/relationships/tags" Target="../tags/tag188.xml"/><Relationship Id="rId6" Type="http://schemas.openxmlformats.org/officeDocument/2006/relationships/tags" Target="../tags/tag189.xml"/><Relationship Id="rId7" Type="http://schemas.openxmlformats.org/officeDocument/2006/relationships/tags" Target="../tags/tag190.xml"/><Relationship Id="rId8" Type="http://schemas.openxmlformats.org/officeDocument/2006/relationships/tags" Target="../tags/tag191.xml"/><Relationship Id="rId9" Type="http://schemas.openxmlformats.org/officeDocument/2006/relationships/tags" Target="../tags/tag192.xml"/><Relationship Id="rId10" Type="http://schemas.openxmlformats.org/officeDocument/2006/relationships/tags" Target="../tags/tag193.xml"/><Relationship Id="rId11" Type="http://schemas.openxmlformats.org/officeDocument/2006/relationships/tags" Target="../tags/tag194.xml"/><Relationship Id="rId12" Type="http://schemas.openxmlformats.org/officeDocument/2006/relationships/tags" Target="../tags/tag195.xml"/><Relationship Id="rId13" Type="http://schemas.openxmlformats.org/officeDocument/2006/relationships/tags" Target="../tags/tag196.xml"/><Relationship Id="rId14" Type="http://schemas.openxmlformats.org/officeDocument/2006/relationships/tags" Target="../tags/tag197.xml"/><Relationship Id="rId15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198.xml"/><Relationship Id="rId2" Type="http://schemas.openxmlformats.org/officeDocument/2006/relationships/tags" Target="../tags/tag199.xml"/><Relationship Id="rId3" Type="http://schemas.openxmlformats.org/officeDocument/2006/relationships/tags" Target="../tags/tag200.xml"/><Relationship Id="rId4" Type="http://schemas.openxmlformats.org/officeDocument/2006/relationships/tags" Target="../tags/tag201.xml"/><Relationship Id="rId5" Type="http://schemas.openxmlformats.org/officeDocument/2006/relationships/tags" Target="../tags/tag202.xml"/><Relationship Id="rId6" Type="http://schemas.openxmlformats.org/officeDocument/2006/relationships/tags" Target="../tags/tag203.xml"/><Relationship Id="rId7" Type="http://schemas.openxmlformats.org/officeDocument/2006/relationships/slideMaster" Target="../slideMasters/slideMaster1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204.xml"/><Relationship Id="rId2" Type="http://schemas.openxmlformats.org/officeDocument/2006/relationships/tags" Target="../tags/tag205.xml"/><Relationship Id="rId3" Type="http://schemas.openxmlformats.org/officeDocument/2006/relationships/tags" Target="../tags/tag206.xml"/><Relationship Id="rId4" Type="http://schemas.openxmlformats.org/officeDocument/2006/relationships/tags" Target="../tags/tag207.xml"/><Relationship Id="rId5" Type="http://schemas.openxmlformats.org/officeDocument/2006/relationships/tags" Target="../tags/tag208.xml"/><Relationship Id="rId6" Type="http://schemas.openxmlformats.org/officeDocument/2006/relationships/tags" Target="../tags/tag209.xml"/><Relationship Id="rId7" Type="http://schemas.openxmlformats.org/officeDocument/2006/relationships/tags" Target="../tags/tag210.xml"/><Relationship Id="rId8" Type="http://schemas.openxmlformats.org/officeDocument/2006/relationships/slideMaster" Target="../slideMasters/slideMaster1.xml"/><Relationship Id="rId9" Type="http://schemas.openxmlformats.org/officeDocument/2006/relationships/image" Target="../media/image2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211.xml"/><Relationship Id="rId2" Type="http://schemas.openxmlformats.org/officeDocument/2006/relationships/tags" Target="../tags/tag212.xml"/><Relationship Id="rId3" Type="http://schemas.openxmlformats.org/officeDocument/2006/relationships/tags" Target="../tags/tag213.xml"/><Relationship Id="rId4" Type="http://schemas.openxmlformats.org/officeDocument/2006/relationships/tags" Target="../tags/tag214.xml"/><Relationship Id="rId5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tags" Target="../tags/tag215.xml"/><Relationship Id="rId2" Type="http://schemas.openxmlformats.org/officeDocument/2006/relationships/tags" Target="../tags/tag216.xml"/><Relationship Id="rId3" Type="http://schemas.openxmlformats.org/officeDocument/2006/relationships/tags" Target="../tags/tag217.xml"/><Relationship Id="rId4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tags" Target="../tags/tag218.xml"/><Relationship Id="rId2" Type="http://schemas.openxmlformats.org/officeDocument/2006/relationships/tags" Target="../tags/tag219.xml"/><Relationship Id="rId3" Type="http://schemas.openxmlformats.org/officeDocument/2006/relationships/tags" Target="../tags/tag220.xml"/><Relationship Id="rId4" Type="http://schemas.openxmlformats.org/officeDocument/2006/relationships/tags" Target="../tags/tag221.xml"/><Relationship Id="rId5" Type="http://schemas.openxmlformats.org/officeDocument/2006/relationships/tags" Target="../tags/tag222.xml"/><Relationship Id="rId6" Type="http://schemas.openxmlformats.org/officeDocument/2006/relationships/tags" Target="../tags/tag223.xml"/><Relationship Id="rId7" Type="http://schemas.openxmlformats.org/officeDocument/2006/relationships/tags" Target="../tags/tag224.xml"/><Relationship Id="rId8" Type="http://schemas.openxmlformats.org/officeDocument/2006/relationships/tags" Target="../tags/tag225.xml"/><Relationship Id="rId9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tags" Target="../tags/tag226.xml"/><Relationship Id="rId2" Type="http://schemas.openxmlformats.org/officeDocument/2006/relationships/tags" Target="../tags/tag227.xml"/><Relationship Id="rId3" Type="http://schemas.openxmlformats.org/officeDocument/2006/relationships/tags" Target="../tags/tag228.xml"/><Relationship Id="rId4" Type="http://schemas.openxmlformats.org/officeDocument/2006/relationships/tags" Target="../tags/tag229.xml"/><Relationship Id="rId5" Type="http://schemas.openxmlformats.org/officeDocument/2006/relationships/tags" Target="../tags/tag230.xml"/><Relationship Id="rId6" Type="http://schemas.openxmlformats.org/officeDocument/2006/relationships/tags" Target="../tags/tag231.xml"/><Relationship Id="rId7" Type="http://schemas.openxmlformats.org/officeDocument/2006/relationships/tags" Target="../tags/tag232.xml"/><Relationship Id="rId8" Type="http://schemas.openxmlformats.org/officeDocument/2006/relationships/tags" Target="../tags/tag233.xml"/><Relationship Id="rId9" Type="http://schemas.openxmlformats.org/officeDocument/2006/relationships/tags" Target="../tags/tag234.xml"/><Relationship Id="rId10" Type="http://schemas.openxmlformats.org/officeDocument/2006/relationships/slideMaster" Target="../slideMasters/slideMaster1.xml"/><Relationship Id="rId11" Type="http://schemas.openxmlformats.org/officeDocument/2006/relationships/image" Target="../media/image3.jpe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235.xml"/><Relationship Id="rId2" Type="http://schemas.openxmlformats.org/officeDocument/2006/relationships/tags" Target="../tags/tag236.xml"/><Relationship Id="rId3" Type="http://schemas.openxmlformats.org/officeDocument/2006/relationships/tags" Target="../tags/tag237.xml"/><Relationship Id="rId4" Type="http://schemas.openxmlformats.org/officeDocument/2006/relationships/tags" Target="../tags/tag238.xml"/><Relationship Id="rId5" Type="http://schemas.openxmlformats.org/officeDocument/2006/relationships/tags" Target="../tags/tag239.xml"/><Relationship Id="rId6" Type="http://schemas.openxmlformats.org/officeDocument/2006/relationships/tags" Target="../tags/tag240.xml"/><Relationship Id="rId7" Type="http://schemas.openxmlformats.org/officeDocument/2006/relationships/tags" Target="../tags/tag241.xml"/><Relationship Id="rId8" Type="http://schemas.openxmlformats.org/officeDocument/2006/relationships/tags" Target="../tags/tag242.xml"/><Relationship Id="rId9" Type="http://schemas.openxmlformats.org/officeDocument/2006/relationships/tags" Target="../tags/tag243.xml"/><Relationship Id="rId10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tags" Target="../tags/tag15.xml"/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244.xml"/><Relationship Id="rId2" Type="http://schemas.openxmlformats.org/officeDocument/2006/relationships/tags" Target="../tags/tag245.xml"/><Relationship Id="rId3" Type="http://schemas.openxmlformats.org/officeDocument/2006/relationships/tags" Target="../tags/tag246.xml"/><Relationship Id="rId4" Type="http://schemas.openxmlformats.org/officeDocument/2006/relationships/tags" Target="../tags/tag247.xml"/><Relationship Id="rId5" Type="http://schemas.openxmlformats.org/officeDocument/2006/relationships/tags" Target="../tags/tag248.xml"/><Relationship Id="rId6" Type="http://schemas.openxmlformats.org/officeDocument/2006/relationships/tags" Target="../tags/tag249.xml"/><Relationship Id="rId7" Type="http://schemas.openxmlformats.org/officeDocument/2006/relationships/tags" Target="../tags/tag250.xml"/><Relationship Id="rId8" Type="http://schemas.openxmlformats.org/officeDocument/2006/relationships/tags" Target="../tags/tag251.xml"/><Relationship Id="rId9" Type="http://schemas.openxmlformats.org/officeDocument/2006/relationships/tags" Target="../tags/tag252.xml"/><Relationship Id="rId10" Type="http://schemas.openxmlformats.org/officeDocument/2006/relationships/tags" Target="../tags/tag253.xml"/><Relationship Id="rId11" Type="http://schemas.openxmlformats.org/officeDocument/2006/relationships/slideMaster" Target="../slideMasters/slideMaster1.xml"/><Relationship Id="rId12" Type="http://schemas.openxmlformats.org/officeDocument/2006/relationships/image" Target="../media/image3.jpeg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tags" Target="../tags/tag254.xml"/><Relationship Id="rId2" Type="http://schemas.openxmlformats.org/officeDocument/2006/relationships/tags" Target="../tags/tag255.xml"/><Relationship Id="rId3" Type="http://schemas.openxmlformats.org/officeDocument/2006/relationships/tags" Target="../tags/tag256.xml"/><Relationship Id="rId4" Type="http://schemas.openxmlformats.org/officeDocument/2006/relationships/tags" Target="../tags/tag257.xml"/><Relationship Id="rId5" Type="http://schemas.openxmlformats.org/officeDocument/2006/relationships/tags" Target="../tags/tag258.xml"/><Relationship Id="rId6" Type="http://schemas.openxmlformats.org/officeDocument/2006/relationships/tags" Target="../tags/tag259.xml"/><Relationship Id="rId7" Type="http://schemas.openxmlformats.org/officeDocument/2006/relationships/tags" Target="../tags/tag260.xml"/><Relationship Id="rId8" Type="http://schemas.openxmlformats.org/officeDocument/2006/relationships/tags" Target="../tags/tag261.xml"/><Relationship Id="rId9" Type="http://schemas.openxmlformats.org/officeDocument/2006/relationships/tags" Target="../tags/tag262.xml"/><Relationship Id="rId10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tags" Target="../tags/tag263.xml"/><Relationship Id="rId2" Type="http://schemas.openxmlformats.org/officeDocument/2006/relationships/tags" Target="../tags/tag264.xml"/><Relationship Id="rId3" Type="http://schemas.openxmlformats.org/officeDocument/2006/relationships/tags" Target="../tags/tag265.xml"/><Relationship Id="rId4" Type="http://schemas.openxmlformats.org/officeDocument/2006/relationships/tags" Target="../tags/tag266.xml"/><Relationship Id="rId5" Type="http://schemas.openxmlformats.org/officeDocument/2006/relationships/tags" Target="../tags/tag267.xml"/><Relationship Id="rId6" Type="http://schemas.openxmlformats.org/officeDocument/2006/relationships/tags" Target="../tags/tag268.xml"/><Relationship Id="rId7" Type="http://schemas.openxmlformats.org/officeDocument/2006/relationships/tags" Target="../tags/tag269.xml"/><Relationship Id="rId8" Type="http://schemas.openxmlformats.org/officeDocument/2006/relationships/tags" Target="../tags/tag270.xml"/><Relationship Id="rId9" Type="http://schemas.openxmlformats.org/officeDocument/2006/relationships/tags" Target="../tags/tag271.xml"/><Relationship Id="rId10" Type="http://schemas.openxmlformats.org/officeDocument/2006/relationships/tags" Target="../tags/tag272.xml"/><Relationship Id="rId11" Type="http://schemas.openxmlformats.org/officeDocument/2006/relationships/slideMaster" Target="../slideMasters/slideMaster1.xml"/><Relationship Id="rId12" Type="http://schemas.openxmlformats.org/officeDocument/2006/relationships/image" Target="../media/image3.jpeg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tags" Target="../tags/tag273.xml"/><Relationship Id="rId2" Type="http://schemas.openxmlformats.org/officeDocument/2006/relationships/tags" Target="../tags/tag274.xml"/><Relationship Id="rId3" Type="http://schemas.openxmlformats.org/officeDocument/2006/relationships/tags" Target="../tags/tag275.xml"/><Relationship Id="rId4" Type="http://schemas.openxmlformats.org/officeDocument/2006/relationships/tags" Target="../tags/tag276.xml"/><Relationship Id="rId5" Type="http://schemas.openxmlformats.org/officeDocument/2006/relationships/tags" Target="../tags/tag277.xml"/><Relationship Id="rId6" Type="http://schemas.openxmlformats.org/officeDocument/2006/relationships/tags" Target="../tags/tag278.xml"/><Relationship Id="rId7" Type="http://schemas.openxmlformats.org/officeDocument/2006/relationships/tags" Target="../tags/tag279.xml"/><Relationship Id="rId8" Type="http://schemas.openxmlformats.org/officeDocument/2006/relationships/tags" Target="../tags/tag280.xml"/><Relationship Id="rId9" Type="http://schemas.openxmlformats.org/officeDocument/2006/relationships/tags" Target="../tags/tag281.xml"/><Relationship Id="rId10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tags" Target="../tags/tag282.xml"/><Relationship Id="rId2" Type="http://schemas.openxmlformats.org/officeDocument/2006/relationships/tags" Target="../tags/tag283.xml"/><Relationship Id="rId3" Type="http://schemas.openxmlformats.org/officeDocument/2006/relationships/tags" Target="../tags/tag284.xml"/><Relationship Id="rId4" Type="http://schemas.openxmlformats.org/officeDocument/2006/relationships/tags" Target="../tags/tag285.xml"/><Relationship Id="rId5" Type="http://schemas.openxmlformats.org/officeDocument/2006/relationships/tags" Target="../tags/tag286.xml"/><Relationship Id="rId6" Type="http://schemas.openxmlformats.org/officeDocument/2006/relationships/tags" Target="../tags/tag287.xml"/><Relationship Id="rId7" Type="http://schemas.openxmlformats.org/officeDocument/2006/relationships/tags" Target="../tags/tag288.xml"/><Relationship Id="rId8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tags" Target="../tags/tag289.xml"/><Relationship Id="rId2" Type="http://schemas.openxmlformats.org/officeDocument/2006/relationships/tags" Target="../tags/tag290.xml"/><Relationship Id="rId3" Type="http://schemas.openxmlformats.org/officeDocument/2006/relationships/tags" Target="../tags/tag291.xml"/><Relationship Id="rId4" Type="http://schemas.openxmlformats.org/officeDocument/2006/relationships/tags" Target="../tags/tag292.xml"/><Relationship Id="rId5" Type="http://schemas.openxmlformats.org/officeDocument/2006/relationships/tags" Target="../tags/tag293.xml"/><Relationship Id="rId6" Type="http://schemas.openxmlformats.org/officeDocument/2006/relationships/tags" Target="../tags/tag294.xml"/><Relationship Id="rId7" Type="http://schemas.openxmlformats.org/officeDocument/2006/relationships/tags" Target="../tags/tag295.xml"/><Relationship Id="rId8" Type="http://schemas.openxmlformats.org/officeDocument/2006/relationships/tags" Target="../tags/tag296.xml"/><Relationship Id="rId9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97.xml"/><Relationship Id="rId2" Type="http://schemas.openxmlformats.org/officeDocument/2006/relationships/tags" Target="../tags/tag298.xml"/><Relationship Id="rId3" Type="http://schemas.openxmlformats.org/officeDocument/2006/relationships/tags" Target="../tags/tag299.xml"/><Relationship Id="rId4" Type="http://schemas.openxmlformats.org/officeDocument/2006/relationships/tags" Target="../tags/tag300.xml"/><Relationship Id="rId5" Type="http://schemas.openxmlformats.org/officeDocument/2006/relationships/tags" Target="../tags/tag301.xml"/><Relationship Id="rId6" Type="http://schemas.openxmlformats.org/officeDocument/2006/relationships/tags" Target="../tags/tag302.xml"/><Relationship Id="rId7" Type="http://schemas.openxmlformats.org/officeDocument/2006/relationships/tags" Target="../tags/tag303.xml"/><Relationship Id="rId8" Type="http://schemas.openxmlformats.org/officeDocument/2006/relationships/tags" Target="../tags/tag304.xml"/><Relationship Id="rId9" Type="http://schemas.openxmlformats.org/officeDocument/2006/relationships/tags" Target="../tags/tag305.xml"/><Relationship Id="rId10" Type="http://schemas.openxmlformats.org/officeDocument/2006/relationships/tags" Target="../tags/tag306.xml"/><Relationship Id="rId11" Type="http://schemas.openxmlformats.org/officeDocument/2006/relationships/tags" Target="../tags/tag307.xml"/><Relationship Id="rId12" Type="http://schemas.openxmlformats.org/officeDocument/2006/relationships/tags" Target="../tags/tag308.xml"/><Relationship Id="rId13" Type="http://schemas.openxmlformats.org/officeDocument/2006/relationships/tags" Target="../tags/tag309.xml"/><Relationship Id="rId14" Type="http://schemas.openxmlformats.org/officeDocument/2006/relationships/tags" Target="../tags/tag310.xml"/><Relationship Id="rId15" Type="http://schemas.openxmlformats.org/officeDocument/2006/relationships/tags" Target="../tags/tag311.xml"/><Relationship Id="rId16" Type="http://schemas.openxmlformats.org/officeDocument/2006/relationships/tags" Target="../tags/tag312.xml"/><Relationship Id="rId17" Type="http://schemas.openxmlformats.org/officeDocument/2006/relationships/slideMaster" Target="../slideMasters/slideMaster1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313.xml"/><Relationship Id="rId2" Type="http://schemas.openxmlformats.org/officeDocument/2006/relationships/tags" Target="../tags/tag314.xml"/><Relationship Id="rId3" Type="http://schemas.openxmlformats.org/officeDocument/2006/relationships/tags" Target="../tags/tag315.xml"/><Relationship Id="rId4" Type="http://schemas.openxmlformats.org/officeDocument/2006/relationships/tags" Target="../tags/tag316.xml"/><Relationship Id="rId5" Type="http://schemas.openxmlformats.org/officeDocument/2006/relationships/tags" Target="../tags/tag317.xml"/><Relationship Id="rId6" Type="http://schemas.openxmlformats.org/officeDocument/2006/relationships/tags" Target="../tags/tag318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9.xml"/><Relationship Id="rId2" Type="http://schemas.openxmlformats.org/officeDocument/2006/relationships/tags" Target="../tags/tag320.xml"/><Relationship Id="rId3" Type="http://schemas.openxmlformats.org/officeDocument/2006/relationships/tags" Target="../tags/tag321.xml"/><Relationship Id="rId4" Type="http://schemas.openxmlformats.org/officeDocument/2006/relationships/tags" Target="../tags/tag322.xml"/><Relationship Id="rId5" Type="http://schemas.openxmlformats.org/officeDocument/2006/relationships/tags" Target="../tags/tag323.xml"/><Relationship Id="rId6" Type="http://schemas.openxmlformats.org/officeDocument/2006/relationships/tags" Target="../tags/tag324.xml"/><Relationship Id="rId7" Type="http://schemas.openxmlformats.org/officeDocument/2006/relationships/tags" Target="../tags/tag325.xml"/><Relationship Id="rId8" Type="http://schemas.openxmlformats.org/officeDocument/2006/relationships/tags" Target="../tags/tag326.xml"/><Relationship Id="rId9" Type="http://schemas.openxmlformats.org/officeDocument/2006/relationships/tags" Target="../tags/tag327.xml"/><Relationship Id="rId10" Type="http://schemas.openxmlformats.org/officeDocument/2006/relationships/slideMaster" Target="../slideMasters/slideMaster1.xml"/><Relationship Id="rId11" Type="http://schemas.openxmlformats.org/officeDocument/2006/relationships/image" Target="../media/image5.pn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28.xml"/><Relationship Id="rId2" Type="http://schemas.openxmlformats.org/officeDocument/2006/relationships/tags" Target="../tags/tag329.xml"/><Relationship Id="rId3" Type="http://schemas.openxmlformats.org/officeDocument/2006/relationships/tags" Target="../tags/tag330.xml"/><Relationship Id="rId4" Type="http://schemas.openxmlformats.org/officeDocument/2006/relationships/tags" Target="../tags/tag331.xml"/><Relationship Id="rId5" Type="http://schemas.openxmlformats.org/officeDocument/2006/relationships/tags" Target="../tags/tag332.xml"/><Relationship Id="rId6" Type="http://schemas.openxmlformats.org/officeDocument/2006/relationships/tags" Target="../tags/tag333.xml"/><Relationship Id="rId7" Type="http://schemas.openxmlformats.org/officeDocument/2006/relationships/tags" Target="../tags/tag334.xml"/><Relationship Id="rId8" Type="http://schemas.openxmlformats.org/officeDocument/2006/relationships/tags" Target="../tags/tag335.xml"/><Relationship Id="rId9" Type="http://schemas.openxmlformats.org/officeDocument/2006/relationships/tags" Target="../tags/tag336.xml"/><Relationship Id="rId10" Type="http://schemas.openxmlformats.org/officeDocument/2006/relationships/tags" Target="../tags/tag337.xml"/><Relationship Id="rId11" Type="http://schemas.openxmlformats.org/officeDocument/2006/relationships/slideMaster" Target="../slideMasters/slideMaster1.xml"/><Relationship Id="rId12" Type="http://schemas.openxmlformats.org/officeDocument/2006/relationships/image" Target="../media/image2.jpeg"/><Relationship Id="rId13" Type="http://schemas.openxmlformats.org/officeDocument/2006/relationships/image" Target="../media/image5.pn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338.xml"/><Relationship Id="rId2" Type="http://schemas.openxmlformats.org/officeDocument/2006/relationships/tags" Target="../tags/tag339.xml"/><Relationship Id="rId3" Type="http://schemas.openxmlformats.org/officeDocument/2006/relationships/tags" Target="../tags/tag340.xml"/><Relationship Id="rId4" Type="http://schemas.openxmlformats.org/officeDocument/2006/relationships/tags" Target="../tags/tag341.xml"/><Relationship Id="rId5" Type="http://schemas.openxmlformats.org/officeDocument/2006/relationships/tags" Target="../tags/tag342.xml"/><Relationship Id="rId6" Type="http://schemas.openxmlformats.org/officeDocument/2006/relationships/tags" Target="../tags/tag343.xml"/><Relationship Id="rId7" Type="http://schemas.openxmlformats.org/officeDocument/2006/relationships/tags" Target="../tags/tag344.xml"/><Relationship Id="rId8" Type="http://schemas.openxmlformats.org/officeDocument/2006/relationships/tags" Target="../tags/tag345.xml"/><Relationship Id="rId9" Type="http://schemas.openxmlformats.org/officeDocument/2006/relationships/tags" Target="../tags/tag346.xml"/><Relationship Id="rId10" Type="http://schemas.openxmlformats.org/officeDocument/2006/relationships/tags" Target="../tags/tag347.xml"/><Relationship Id="rId11" Type="http://schemas.openxmlformats.org/officeDocument/2006/relationships/slideMaster" Target="../slideMasters/slideMaster1.xml"/><Relationship Id="rId12" Type="http://schemas.openxmlformats.org/officeDocument/2006/relationships/image" Target="../media/image3.jpeg"/><Relationship Id="rId13" Type="http://schemas.openxmlformats.org/officeDocument/2006/relationships/image" Target="../media/image5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348.xml"/><Relationship Id="rId2" Type="http://schemas.openxmlformats.org/officeDocument/2006/relationships/tags" Target="../tags/tag349.xml"/><Relationship Id="rId3" Type="http://schemas.openxmlformats.org/officeDocument/2006/relationships/tags" Target="../tags/tag350.xml"/><Relationship Id="rId4" Type="http://schemas.openxmlformats.org/officeDocument/2006/relationships/tags" Target="../tags/tag351.xml"/><Relationship Id="rId5" Type="http://schemas.openxmlformats.org/officeDocument/2006/relationships/tags" Target="../tags/tag352.xml"/><Relationship Id="rId6" Type="http://schemas.openxmlformats.org/officeDocument/2006/relationships/tags" Target="../tags/tag353.xml"/><Relationship Id="rId7" Type="http://schemas.openxmlformats.org/officeDocument/2006/relationships/tags" Target="../tags/tag354.xml"/><Relationship Id="rId8" Type="http://schemas.openxmlformats.org/officeDocument/2006/relationships/tags" Target="../tags/tag355.xml"/><Relationship Id="rId9" Type="http://schemas.openxmlformats.org/officeDocument/2006/relationships/tags" Target="../tags/tag356.xml"/><Relationship Id="rId10" Type="http://schemas.openxmlformats.org/officeDocument/2006/relationships/tags" Target="../tags/tag357.xml"/><Relationship Id="rId11" Type="http://schemas.openxmlformats.org/officeDocument/2006/relationships/slideMaster" Target="../slideMasters/slideMaster1.xml"/><Relationship Id="rId12" Type="http://schemas.openxmlformats.org/officeDocument/2006/relationships/image" Target="../media/image5.png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358.xml"/><Relationship Id="rId2" Type="http://schemas.openxmlformats.org/officeDocument/2006/relationships/tags" Target="../tags/tag359.xml"/><Relationship Id="rId3" Type="http://schemas.openxmlformats.org/officeDocument/2006/relationships/tags" Target="../tags/tag360.xml"/><Relationship Id="rId4" Type="http://schemas.openxmlformats.org/officeDocument/2006/relationships/tags" Target="../tags/tag361.xml"/><Relationship Id="rId5" Type="http://schemas.openxmlformats.org/officeDocument/2006/relationships/slideMaster" Target="../slideMasters/slideMaster1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362.xml"/><Relationship Id="rId2" Type="http://schemas.openxmlformats.org/officeDocument/2006/relationships/tags" Target="../tags/tag363.xml"/><Relationship Id="rId3" Type="http://schemas.openxmlformats.org/officeDocument/2006/relationships/tags" Target="../tags/tag364.xml"/><Relationship Id="rId4" Type="http://schemas.openxmlformats.org/officeDocument/2006/relationships/tags" Target="../tags/tag365.xml"/><Relationship Id="rId5" Type="http://schemas.openxmlformats.org/officeDocument/2006/relationships/tags" Target="../tags/tag366.xml"/><Relationship Id="rId6" Type="http://schemas.openxmlformats.org/officeDocument/2006/relationships/tags" Target="../tags/tag367.xml"/><Relationship Id="rId7" Type="http://schemas.openxmlformats.org/officeDocument/2006/relationships/tags" Target="../tags/tag368.xml"/><Relationship Id="rId8" Type="http://schemas.openxmlformats.org/officeDocument/2006/relationships/tags" Target="../tags/tag369.xml"/><Relationship Id="rId9" Type="http://schemas.openxmlformats.org/officeDocument/2006/relationships/tags" Target="../tags/tag370.xml"/><Relationship Id="rId10" Type="http://schemas.openxmlformats.org/officeDocument/2006/relationships/tags" Target="../tags/tag371.xml"/><Relationship Id="rId11" Type="http://schemas.openxmlformats.org/officeDocument/2006/relationships/tags" Target="../tags/tag372.xml"/><Relationship Id="rId12" Type="http://schemas.openxmlformats.org/officeDocument/2006/relationships/tags" Target="../tags/tag373.xml"/><Relationship Id="rId13" Type="http://schemas.openxmlformats.org/officeDocument/2006/relationships/tags" Target="../tags/tag374.xml"/><Relationship Id="rId14" Type="http://schemas.openxmlformats.org/officeDocument/2006/relationships/tags" Target="../tags/tag375.xml"/><Relationship Id="rId15" Type="http://schemas.openxmlformats.org/officeDocument/2006/relationships/tags" Target="../tags/tag376.xml"/><Relationship Id="rId16" Type="http://schemas.openxmlformats.org/officeDocument/2006/relationships/slideMaster" Target="../slideMasters/slideMaster1.xml"/><Relationship Id="rId17" Type="http://schemas.openxmlformats.org/officeDocument/2006/relationships/image" Target="../media/image6.png"/><Relationship Id="rId18" Type="http://schemas.openxmlformats.org/officeDocument/2006/relationships/image" Target="../media/image7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377.xml"/><Relationship Id="rId2" Type="http://schemas.openxmlformats.org/officeDocument/2006/relationships/tags" Target="../tags/tag378.xml"/><Relationship Id="rId3" Type="http://schemas.openxmlformats.org/officeDocument/2006/relationships/tags" Target="../tags/tag379.xml"/><Relationship Id="rId4" Type="http://schemas.openxmlformats.org/officeDocument/2006/relationships/tags" Target="../tags/tag380.xml"/><Relationship Id="rId5" Type="http://schemas.openxmlformats.org/officeDocument/2006/relationships/tags" Target="../tags/tag381.xml"/><Relationship Id="rId6" Type="http://schemas.openxmlformats.org/officeDocument/2006/relationships/tags" Target="../tags/tag382.xml"/><Relationship Id="rId7" Type="http://schemas.openxmlformats.org/officeDocument/2006/relationships/tags" Target="../tags/tag383.xml"/><Relationship Id="rId8" Type="http://schemas.openxmlformats.org/officeDocument/2006/relationships/tags" Target="../tags/tag384.xml"/><Relationship Id="rId9" Type="http://schemas.openxmlformats.org/officeDocument/2006/relationships/slideMaster" Target="../slideMasters/slideMaster1.xml"/><Relationship Id="rId10" Type="http://schemas.openxmlformats.org/officeDocument/2006/relationships/image" Target="../media/image8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385.xml"/><Relationship Id="rId2" Type="http://schemas.openxmlformats.org/officeDocument/2006/relationships/tags" Target="../tags/tag386.xml"/><Relationship Id="rId3" Type="http://schemas.openxmlformats.org/officeDocument/2006/relationships/tags" Target="../tags/tag387.xml"/><Relationship Id="rId4" Type="http://schemas.openxmlformats.org/officeDocument/2006/relationships/tags" Target="../tags/tag388.xml"/><Relationship Id="rId5" Type="http://schemas.openxmlformats.org/officeDocument/2006/relationships/tags" Target="../tags/tag389.xml"/><Relationship Id="rId6" Type="http://schemas.openxmlformats.org/officeDocument/2006/relationships/tags" Target="../tags/tag390.xml"/><Relationship Id="rId7" Type="http://schemas.openxmlformats.org/officeDocument/2006/relationships/tags" Target="../tags/tag391.xml"/><Relationship Id="rId8" Type="http://schemas.openxmlformats.org/officeDocument/2006/relationships/tags" Target="../tags/tag392.xml"/><Relationship Id="rId9" Type="http://schemas.openxmlformats.org/officeDocument/2006/relationships/tags" Target="../tags/tag393.xml"/><Relationship Id="rId10" Type="http://schemas.openxmlformats.org/officeDocument/2006/relationships/slideMaster" Target="../slideMasters/slideMaster1.xml"/><Relationship Id="rId11" Type="http://schemas.openxmlformats.org/officeDocument/2006/relationships/image" Target="../media/image9.png"/><Relationship Id="rId12" Type="http://schemas.openxmlformats.org/officeDocument/2006/relationships/image" Target="../media/image7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394.xml"/><Relationship Id="rId2" Type="http://schemas.openxmlformats.org/officeDocument/2006/relationships/tags" Target="../tags/tag395.xml"/><Relationship Id="rId3" Type="http://schemas.openxmlformats.org/officeDocument/2006/relationships/tags" Target="../tags/tag396.xml"/><Relationship Id="rId4" Type="http://schemas.openxmlformats.org/officeDocument/2006/relationships/tags" Target="../tags/tag397.xml"/><Relationship Id="rId5" Type="http://schemas.openxmlformats.org/officeDocument/2006/relationships/tags" Target="../tags/tag398.xml"/><Relationship Id="rId6" Type="http://schemas.openxmlformats.org/officeDocument/2006/relationships/tags" Target="../tags/tag399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tags" Target="../tags/tag23.xml"/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tags" Target="../tags/tag26.xml"/><Relationship Id="rId6" Type="http://schemas.openxmlformats.org/officeDocument/2006/relationships/tags" Target="../tags/tag27.xml"/><Relationship Id="rId7" Type="http://schemas.openxmlformats.org/officeDocument/2006/relationships/tags" Target="../tags/tag28.xml"/><Relationship Id="rId8" Type="http://schemas.openxmlformats.org/officeDocument/2006/relationships/tags" Target="../tags/tag29.xml"/><Relationship Id="rId9" Type="http://schemas.openxmlformats.org/officeDocument/2006/relationships/slideMaster" Target="../slideMasters/slideMaster1.xml"/><Relationship Id="rId10" Type="http://schemas.openxmlformats.org/officeDocument/2006/relationships/oleObject" Target="../embeddings/oleObject2.bin"/><Relationship Id="rId11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tags" Target="../tags/tag31.xml"/><Relationship Id="rId3" Type="http://schemas.openxmlformats.org/officeDocument/2006/relationships/tags" Target="../tags/tag32.xml"/><Relationship Id="rId4" Type="http://schemas.openxmlformats.org/officeDocument/2006/relationships/tags" Target="../tags/tag33.xml"/><Relationship Id="rId5" Type="http://schemas.openxmlformats.org/officeDocument/2006/relationships/tags" Target="../tags/tag34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9" Type="http://schemas.openxmlformats.org/officeDocument/2006/relationships/tags" Target="../tags/tag38.xml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slideMaster" Target="../slideMasters/slideMaster1.xml"/><Relationship Id="rId13" Type="http://schemas.openxmlformats.org/officeDocument/2006/relationships/oleObject" Target="../embeddings/oleObject2.bin"/><Relationship Id="rId1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tags" Target="../tags/tag46.xml"/><Relationship Id="rId7" Type="http://schemas.openxmlformats.org/officeDocument/2006/relationships/tags" Target="../tags/tag4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2.bin"/><Relationship Id="rId10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48.xml"/><Relationship Id="rId2" Type="http://schemas.openxmlformats.org/officeDocument/2006/relationships/tags" Target="../tags/tag49.xml"/><Relationship Id="rId3" Type="http://schemas.openxmlformats.org/officeDocument/2006/relationships/tags" Target="../tags/tag50.xml"/><Relationship Id="rId4" Type="http://schemas.openxmlformats.org/officeDocument/2006/relationships/tags" Target="../tags/tag51.xml"/><Relationship Id="rId5" Type="http://schemas.openxmlformats.org/officeDocument/2006/relationships/tags" Target="../tags/tag52.xml"/><Relationship Id="rId6" Type="http://schemas.openxmlformats.org/officeDocument/2006/relationships/tags" Target="../tags/tag53.xml"/><Relationship Id="rId7" Type="http://schemas.openxmlformats.org/officeDocument/2006/relationships/tags" Target="../tags/tag54.xml"/><Relationship Id="rId8" Type="http://schemas.openxmlformats.org/officeDocument/2006/relationships/tags" Target="../tags/tag55.xml"/><Relationship Id="rId9" Type="http://schemas.openxmlformats.org/officeDocument/2006/relationships/slideMaster" Target="../slideMasters/slideMaster1.xml"/><Relationship Id="rId10" Type="http://schemas.openxmlformats.org/officeDocument/2006/relationships/image" Target="../media/image2.jpeg"/><Relationship Id="rId11" Type="http://schemas.openxmlformats.org/officeDocument/2006/relationships/oleObject" Target="../embeddings/oleObject2.bin"/><Relationship Id="rId12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130B36D-43BB-4A54-B4FB-BE7A3BABA8D1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092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4">
            <a:extLst>
              <a:ext uri="{FF2B5EF4-FFF2-40B4-BE49-F238E27FC236}">
                <a16:creationId xmlns:a16="http://schemas.microsoft.com/office/drawing/2014/main" id="{5296C17C-CB35-4213-5702-9667AFF7BF1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4B53D2-388D-49C5-812B-CA499547276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009024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E5FDDD-F477-248C-6384-CEF8141A3351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74A6-798E-4F80-A365-112D94B717BA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DD1E07-486C-49EF-AA4F-DF87E56C1DB0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10DD1427-7828-474C-275E-4DD98000568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4728593D-C4B8-8545-7232-93738ED6E222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32B48658-E3B2-E90F-5C41-0177CA4BFE4E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970090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2BF69DD0-1604-3187-25DF-43C7BD7DA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4" imgH="385" progId="TCLayout.ActiveDocument.1">
                  <p:embed/>
                </p:oleObj>
              </mc:Choice>
              <mc:Fallback>
                <p:oleObj name="think-cell Slide" r:id="rId14" imgW="384" imgH="385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F69DD0-1604-3187-25DF-43C7BD7DA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27FD3D45-84A9-0B09-13D3-AA104F0BE86B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2"/>
            </p:custDataLst>
          </p:nvPr>
        </p:nvSpPr>
        <p:spPr>
          <a:xfrm>
            <a:off x="6102285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9001466-3C43-2B4E-9DD0-A57E8E9CB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5352" y="959479"/>
            <a:ext cx="4563256" cy="20923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a headline of maximum four </a:t>
            </a:r>
            <a:br>
              <a:rPr lang="en-GB" dirty="0"/>
            </a:br>
            <a:r>
              <a:rPr lang="en-GB" dirty="0"/>
              <a:t>lin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800" y="4110087"/>
            <a:ext cx="227576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52800" y="4114899"/>
            <a:ext cx="2275759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830B1FC9-5F0E-BF43-BD9E-24576FEB40D8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352800" y="4583113"/>
            <a:ext cx="2276475" cy="1506536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626C82B9-EE0D-A04D-A01A-0E7F84E5E3B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766800" y="4583112"/>
            <a:ext cx="2276475" cy="1506537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7BDDCB3-EA5C-784A-AA5E-6367A625F84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6A7B7C-D78E-4DA5-8F82-E5685A83112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BFAA423-76AA-A947-8C3F-8C8577C52FA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2A89CE3-55D8-6547-A297-6C0D276AE7F0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D9811A-E24E-173F-72C6-3C3467F204A4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DFF3FC6-1C64-2868-78E0-513B084070FE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A545A326-5506-EA62-6A03-3AE6EAA1798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1FF42671-9556-BA1B-64B1-D9CD4D423B5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0112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4E94BDC-2778-4711-B928-FC71B019BCF3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8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7DBC72-E3B7-A81D-1BBE-E3E6D0D228A4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5" name="textruta 5">
              <a:extLst>
                <a:ext uri="{FF2B5EF4-FFF2-40B4-BE49-F238E27FC236}">
                  <a16:creationId xmlns:a16="http://schemas.microsoft.com/office/drawing/2014/main" id="{9967CB21-26EF-F779-81A0-FB40E205D2A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9CF4DF59-4D31-6B1C-0D8F-80A905DC88F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39EF1119-07D8-9C06-F0EB-B7DE7CBF1B9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95517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2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9C434207-B8EF-C94E-BE59-893BFAB726A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235908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0997" y="-2"/>
            <a:ext cx="6091003" cy="34381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 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00275657-D737-1746-B967-1BEA2BA08E7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5175" y="2533650"/>
            <a:ext cx="5078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BC4B409-7EC5-484A-B644-372338E06EE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A1E0F7-5F5A-4ABA-A722-038DC5ED712E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DE47FA7-E504-004A-B551-02500F79980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7B1E62A-EAE8-7049-A4EF-130D322A1C5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7C90C52-E4A6-1D8C-5AD0-C1101272AE45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9"/>
            </p:custDataLst>
          </p:nvPr>
        </p:nvSpPr>
        <p:spPr>
          <a:xfrm>
            <a:off x="6100997" y="3438146"/>
            <a:ext cx="6091003" cy="3419854"/>
          </a:xfrm>
          <a:custGeom>
            <a:avLst/>
            <a:gdLst>
              <a:gd name="connsiteX0" fmla="*/ 4875780 w 6091003"/>
              <a:gd name="connsiteY0" fmla="*/ 2991237 h 3419854"/>
              <a:gd name="connsiteX1" fmla="*/ 4843469 w 6091003"/>
              <a:gd name="connsiteY1" fmla="*/ 3194250 h 3419854"/>
              <a:gd name="connsiteX2" fmla="*/ 4765823 w 6091003"/>
              <a:gd name="connsiteY2" fmla="*/ 3229841 h 3419854"/>
              <a:gd name="connsiteX3" fmla="*/ 4855697 w 6091003"/>
              <a:gd name="connsiteY3" fmla="*/ 2987757 h 3419854"/>
              <a:gd name="connsiteX4" fmla="*/ 4857586 w 6091003"/>
              <a:gd name="connsiteY4" fmla="*/ 2990043 h 3419854"/>
              <a:gd name="connsiteX5" fmla="*/ 4751009 w 6091003"/>
              <a:gd name="connsiteY5" fmla="*/ 3221292 h 3419854"/>
              <a:gd name="connsiteX6" fmla="*/ 4748126 w 6091003"/>
              <a:gd name="connsiteY6" fmla="*/ 3221192 h 3419854"/>
              <a:gd name="connsiteX7" fmla="*/ 4707563 w 6091003"/>
              <a:gd name="connsiteY7" fmla="*/ 3113621 h 3419854"/>
              <a:gd name="connsiteX8" fmla="*/ 5634544 w 6091003"/>
              <a:gd name="connsiteY8" fmla="*/ 2987657 h 3419854"/>
              <a:gd name="connsiteX9" fmla="*/ 5706424 w 6091003"/>
              <a:gd name="connsiteY9" fmla="*/ 3090059 h 3419854"/>
              <a:gd name="connsiteX10" fmla="*/ 5706424 w 6091003"/>
              <a:gd name="connsiteY10" fmla="*/ 3160845 h 3419854"/>
              <a:gd name="connsiteX11" fmla="*/ 5727600 w 6091003"/>
              <a:gd name="connsiteY11" fmla="*/ 3160845 h 3419854"/>
              <a:gd name="connsiteX12" fmla="*/ 5727600 w 6091003"/>
              <a:gd name="connsiteY12" fmla="*/ 3090059 h 3419854"/>
              <a:gd name="connsiteX13" fmla="*/ 5799480 w 6091003"/>
              <a:gd name="connsiteY13" fmla="*/ 2987657 h 3419854"/>
              <a:gd name="connsiteX14" fmla="*/ 5775122 w 6091003"/>
              <a:gd name="connsiteY14" fmla="*/ 2987657 h 3419854"/>
              <a:gd name="connsiteX15" fmla="*/ 5719547 w 6091003"/>
              <a:gd name="connsiteY15" fmla="*/ 3067888 h 3419854"/>
              <a:gd name="connsiteX16" fmla="*/ 5714676 w 6091003"/>
              <a:gd name="connsiteY16" fmla="*/ 3067888 h 3419854"/>
              <a:gd name="connsiteX17" fmla="*/ 5658902 w 6091003"/>
              <a:gd name="connsiteY17" fmla="*/ 2987657 h 3419854"/>
              <a:gd name="connsiteX18" fmla="*/ 5439683 w 6091003"/>
              <a:gd name="connsiteY18" fmla="*/ 2987657 h 3419854"/>
              <a:gd name="connsiteX19" fmla="*/ 5439683 w 6091003"/>
              <a:gd name="connsiteY19" fmla="*/ 3160845 h 3419854"/>
              <a:gd name="connsiteX20" fmla="*/ 5460959 w 6091003"/>
              <a:gd name="connsiteY20" fmla="*/ 3160845 h 3419854"/>
              <a:gd name="connsiteX21" fmla="*/ 5460959 w 6091003"/>
              <a:gd name="connsiteY21" fmla="*/ 3010225 h 3419854"/>
              <a:gd name="connsiteX22" fmla="*/ 5464935 w 6091003"/>
              <a:gd name="connsiteY22" fmla="*/ 3006249 h 3419854"/>
              <a:gd name="connsiteX23" fmla="*/ 5534230 w 6091003"/>
              <a:gd name="connsiteY23" fmla="*/ 3006249 h 3419854"/>
              <a:gd name="connsiteX24" fmla="*/ 5565646 w 6091003"/>
              <a:gd name="connsiteY24" fmla="*/ 3017185 h 3419854"/>
              <a:gd name="connsiteX25" fmla="*/ 5574097 w 6091003"/>
              <a:gd name="connsiteY25" fmla="*/ 3037963 h 3419854"/>
              <a:gd name="connsiteX26" fmla="*/ 5539996 w 6091003"/>
              <a:gd name="connsiteY26" fmla="*/ 3069877 h 3419854"/>
              <a:gd name="connsiteX27" fmla="*/ 5479450 w 6091003"/>
              <a:gd name="connsiteY27" fmla="*/ 3069877 h 3419854"/>
              <a:gd name="connsiteX28" fmla="*/ 5479450 w 6091003"/>
              <a:gd name="connsiteY28" fmla="*/ 3088468 h 3419854"/>
              <a:gd name="connsiteX29" fmla="*/ 5527271 w 6091003"/>
              <a:gd name="connsiteY29" fmla="*/ 3088468 h 3419854"/>
              <a:gd name="connsiteX30" fmla="*/ 5576781 w 6091003"/>
              <a:gd name="connsiteY30" fmla="*/ 3160845 h 3419854"/>
              <a:gd name="connsiteX31" fmla="*/ 5601039 w 6091003"/>
              <a:gd name="connsiteY31" fmla="*/ 3160845 h 3419854"/>
              <a:gd name="connsiteX32" fmla="*/ 5549540 w 6091003"/>
              <a:gd name="connsiteY32" fmla="*/ 3086977 h 3419854"/>
              <a:gd name="connsiteX33" fmla="*/ 5550932 w 6091003"/>
              <a:gd name="connsiteY33" fmla="*/ 3086679 h 3419854"/>
              <a:gd name="connsiteX34" fmla="*/ 5555506 w 6091003"/>
              <a:gd name="connsiteY34" fmla="*/ 3085585 h 3419854"/>
              <a:gd name="connsiteX35" fmla="*/ 5595174 w 6091003"/>
              <a:gd name="connsiteY35" fmla="*/ 3038162 h 3419854"/>
              <a:gd name="connsiteX36" fmla="*/ 5582150 w 6091003"/>
              <a:gd name="connsiteY36" fmla="*/ 3004857 h 3419854"/>
              <a:gd name="connsiteX37" fmla="*/ 5534230 w 6091003"/>
              <a:gd name="connsiteY37" fmla="*/ 2987657 h 3419854"/>
              <a:gd name="connsiteX38" fmla="*/ 5247507 w 6091003"/>
              <a:gd name="connsiteY38" fmla="*/ 2987657 h 3419854"/>
              <a:gd name="connsiteX39" fmla="*/ 5247507 w 6091003"/>
              <a:gd name="connsiteY39" fmla="*/ 3160845 h 3419854"/>
              <a:gd name="connsiteX40" fmla="*/ 5268783 w 6091003"/>
              <a:gd name="connsiteY40" fmla="*/ 3160845 h 3419854"/>
              <a:gd name="connsiteX41" fmla="*/ 5268783 w 6091003"/>
              <a:gd name="connsiteY41" fmla="*/ 3092345 h 3419854"/>
              <a:gd name="connsiteX42" fmla="*/ 5272759 w 6091003"/>
              <a:gd name="connsiteY42" fmla="*/ 3088369 h 3419854"/>
              <a:gd name="connsiteX43" fmla="*/ 5361540 w 6091003"/>
              <a:gd name="connsiteY43" fmla="*/ 3088369 h 3419854"/>
              <a:gd name="connsiteX44" fmla="*/ 5361540 w 6091003"/>
              <a:gd name="connsiteY44" fmla="*/ 3069777 h 3419854"/>
              <a:gd name="connsiteX45" fmla="*/ 5272759 w 6091003"/>
              <a:gd name="connsiteY45" fmla="*/ 3069777 h 3419854"/>
              <a:gd name="connsiteX46" fmla="*/ 5268783 w 6091003"/>
              <a:gd name="connsiteY46" fmla="*/ 3065801 h 3419854"/>
              <a:gd name="connsiteX47" fmla="*/ 5268783 w 6091003"/>
              <a:gd name="connsiteY47" fmla="*/ 3011717 h 3419854"/>
              <a:gd name="connsiteX48" fmla="*/ 5272759 w 6091003"/>
              <a:gd name="connsiteY48" fmla="*/ 3007740 h 3419854"/>
              <a:gd name="connsiteX49" fmla="*/ 5382517 w 6091003"/>
              <a:gd name="connsiteY49" fmla="*/ 3007740 h 3419854"/>
              <a:gd name="connsiteX50" fmla="*/ 5382517 w 6091003"/>
              <a:gd name="connsiteY50" fmla="*/ 2987657 h 3419854"/>
              <a:gd name="connsiteX51" fmla="*/ 5096092 w 6091003"/>
              <a:gd name="connsiteY51" fmla="*/ 2987657 h 3419854"/>
              <a:gd name="connsiteX52" fmla="*/ 5016358 w 6091003"/>
              <a:gd name="connsiteY52" fmla="*/ 3160845 h 3419854"/>
              <a:gd name="connsiteX53" fmla="*/ 5038230 w 6091003"/>
              <a:gd name="connsiteY53" fmla="*/ 3160845 h 3419854"/>
              <a:gd name="connsiteX54" fmla="*/ 5102654 w 6091003"/>
              <a:gd name="connsiteY54" fmla="*/ 3016290 h 3419854"/>
              <a:gd name="connsiteX55" fmla="*/ 5108519 w 6091003"/>
              <a:gd name="connsiteY55" fmla="*/ 3016290 h 3419854"/>
              <a:gd name="connsiteX56" fmla="*/ 5142023 w 6091003"/>
              <a:gd name="connsiteY56" fmla="*/ 3090258 h 3419854"/>
              <a:gd name="connsiteX57" fmla="*/ 5090027 w 6091003"/>
              <a:gd name="connsiteY57" fmla="*/ 3090258 h 3419854"/>
              <a:gd name="connsiteX58" fmla="*/ 5081776 w 6091003"/>
              <a:gd name="connsiteY58" fmla="*/ 3108849 h 3419854"/>
              <a:gd name="connsiteX59" fmla="*/ 5150176 w 6091003"/>
              <a:gd name="connsiteY59" fmla="*/ 3108849 h 3419854"/>
              <a:gd name="connsiteX60" fmla="*/ 5173141 w 6091003"/>
              <a:gd name="connsiteY60" fmla="*/ 3160845 h 3419854"/>
              <a:gd name="connsiteX61" fmla="*/ 5196306 w 6091003"/>
              <a:gd name="connsiteY61" fmla="*/ 3160845 h 3419854"/>
              <a:gd name="connsiteX62" fmla="*/ 5116672 w 6091003"/>
              <a:gd name="connsiteY62" fmla="*/ 2987657 h 3419854"/>
              <a:gd name="connsiteX63" fmla="*/ 4842773 w 6091003"/>
              <a:gd name="connsiteY63" fmla="*/ 2972446 h 3419854"/>
              <a:gd name="connsiteX64" fmla="*/ 4844662 w 6091003"/>
              <a:gd name="connsiteY64" fmla="*/ 2974733 h 3419854"/>
              <a:gd name="connsiteX65" fmla="*/ 4687481 w 6091003"/>
              <a:gd name="connsiteY65" fmla="*/ 3108352 h 3419854"/>
              <a:gd name="connsiteX66" fmla="*/ 4733909 w 6091003"/>
              <a:gd name="connsiteY66" fmla="*/ 3231631 h 3419854"/>
              <a:gd name="connsiteX67" fmla="*/ 4620771 w 6091003"/>
              <a:gd name="connsiteY67" fmla="*/ 3176255 h 3419854"/>
              <a:gd name="connsiteX68" fmla="*/ 4584284 w 6091003"/>
              <a:gd name="connsiteY68" fmla="*/ 3055660 h 3419854"/>
              <a:gd name="connsiteX69" fmla="*/ 4669486 w 6091003"/>
              <a:gd name="connsiteY69" fmla="*/ 3099205 h 3419854"/>
              <a:gd name="connsiteX70" fmla="*/ 4683305 w 6091003"/>
              <a:gd name="connsiteY70" fmla="*/ 3087474 h 3419854"/>
              <a:gd name="connsiteX71" fmla="*/ 4596910 w 6091003"/>
              <a:gd name="connsiteY71" fmla="*/ 3043332 h 3419854"/>
              <a:gd name="connsiteX72" fmla="*/ 4597308 w 6091003"/>
              <a:gd name="connsiteY72" fmla="*/ 3040449 h 3419854"/>
              <a:gd name="connsiteX73" fmla="*/ 4742347 w 6091003"/>
              <a:gd name="connsiteY73" fmla="*/ 2916002 h 3419854"/>
              <a:gd name="connsiteX74" fmla="*/ 4844363 w 6091003"/>
              <a:gd name="connsiteY74" fmla="*/ 2954352 h 3419854"/>
              <a:gd name="connsiteX75" fmla="*/ 4591144 w 6091003"/>
              <a:gd name="connsiteY75" fmla="*/ 3024442 h 3419854"/>
              <a:gd name="connsiteX76" fmla="*/ 4638765 w 6091003"/>
              <a:gd name="connsiteY76" fmla="*/ 2953557 h 3419854"/>
              <a:gd name="connsiteX77" fmla="*/ 4742347 w 6091003"/>
              <a:gd name="connsiteY77" fmla="*/ 2916002 h 3419854"/>
              <a:gd name="connsiteX78" fmla="*/ 4755247 w 6091003"/>
              <a:gd name="connsiteY78" fmla="*/ 2899411 h 3419854"/>
              <a:gd name="connsiteX79" fmla="*/ 4627730 w 6091003"/>
              <a:gd name="connsiteY79" fmla="*/ 2940533 h 3419854"/>
              <a:gd name="connsiteX80" fmla="*/ 4607747 w 6091003"/>
              <a:gd name="connsiteY80" fmla="*/ 3187290 h 3419854"/>
              <a:gd name="connsiteX81" fmla="*/ 4854504 w 6091003"/>
              <a:gd name="connsiteY81" fmla="*/ 3207273 h 3419854"/>
              <a:gd name="connsiteX82" fmla="*/ 4874487 w 6091003"/>
              <a:gd name="connsiteY82" fmla="*/ 2960516 h 3419854"/>
              <a:gd name="connsiteX83" fmla="*/ 4755247 w 6091003"/>
              <a:gd name="connsiteY83" fmla="*/ 2899411 h 3419854"/>
              <a:gd name="connsiteX84" fmla="*/ 0 w 6091003"/>
              <a:gd name="connsiteY84" fmla="*/ 0 h 3419854"/>
              <a:gd name="connsiteX85" fmla="*/ 6091003 w 6091003"/>
              <a:gd name="connsiteY85" fmla="*/ 0 h 3419854"/>
              <a:gd name="connsiteX86" fmla="*/ 6091003 w 6091003"/>
              <a:gd name="connsiteY86" fmla="*/ 3419854 h 3419854"/>
              <a:gd name="connsiteX87" fmla="*/ 0 w 6091003"/>
              <a:gd name="connsiteY87" fmla="*/ 3419854 h 3419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1003" h="3419854">
                <a:moveTo>
                  <a:pt x="4875780" y="2991237"/>
                </a:moveTo>
                <a:cubicBezTo>
                  <a:pt x="4915845" y="3056455"/>
                  <a:pt x="4903517" y="3143248"/>
                  <a:pt x="4843469" y="3194250"/>
                </a:cubicBezTo>
                <a:cubicBezTo>
                  <a:pt x="4820503" y="3213736"/>
                  <a:pt x="4793560" y="3225566"/>
                  <a:pt x="4765823" y="3229841"/>
                </a:cubicBezTo>
                <a:close/>
                <a:moveTo>
                  <a:pt x="4855697" y="2987757"/>
                </a:moveTo>
                <a:lnTo>
                  <a:pt x="4857586" y="2990043"/>
                </a:lnTo>
                <a:lnTo>
                  <a:pt x="4751009" y="3221292"/>
                </a:lnTo>
                <a:cubicBezTo>
                  <a:pt x="4749617" y="3221192"/>
                  <a:pt x="4749518" y="3221192"/>
                  <a:pt x="4748126" y="3221192"/>
                </a:cubicBezTo>
                <a:lnTo>
                  <a:pt x="4707563" y="3113621"/>
                </a:lnTo>
                <a:close/>
                <a:moveTo>
                  <a:pt x="5634544" y="2987657"/>
                </a:moveTo>
                <a:lnTo>
                  <a:pt x="5706424" y="3090059"/>
                </a:lnTo>
                <a:lnTo>
                  <a:pt x="5706424" y="3160845"/>
                </a:lnTo>
                <a:lnTo>
                  <a:pt x="5727600" y="3160845"/>
                </a:lnTo>
                <a:lnTo>
                  <a:pt x="5727600" y="3090059"/>
                </a:lnTo>
                <a:lnTo>
                  <a:pt x="5799480" y="2987657"/>
                </a:lnTo>
                <a:lnTo>
                  <a:pt x="5775122" y="2987657"/>
                </a:lnTo>
                <a:lnTo>
                  <a:pt x="5719547" y="3067888"/>
                </a:lnTo>
                <a:lnTo>
                  <a:pt x="5714676" y="3067888"/>
                </a:lnTo>
                <a:lnTo>
                  <a:pt x="5658902" y="2987657"/>
                </a:lnTo>
                <a:close/>
                <a:moveTo>
                  <a:pt x="5439683" y="2987657"/>
                </a:moveTo>
                <a:lnTo>
                  <a:pt x="5439683" y="3160845"/>
                </a:lnTo>
                <a:lnTo>
                  <a:pt x="5460959" y="3160845"/>
                </a:lnTo>
                <a:lnTo>
                  <a:pt x="5460959" y="3010225"/>
                </a:lnTo>
                <a:lnTo>
                  <a:pt x="5464935" y="3006249"/>
                </a:lnTo>
                <a:lnTo>
                  <a:pt x="5534230" y="3006249"/>
                </a:lnTo>
                <a:cubicBezTo>
                  <a:pt x="5544371" y="3006249"/>
                  <a:pt x="5556003" y="3007541"/>
                  <a:pt x="5565646" y="3017185"/>
                </a:cubicBezTo>
                <a:cubicBezTo>
                  <a:pt x="5571114" y="3022951"/>
                  <a:pt x="5574097" y="3030308"/>
                  <a:pt x="5574097" y="3037963"/>
                </a:cubicBezTo>
                <a:cubicBezTo>
                  <a:pt x="5574097" y="3055859"/>
                  <a:pt x="5559085" y="3069877"/>
                  <a:pt x="5539996" y="3069877"/>
                </a:cubicBezTo>
                <a:lnTo>
                  <a:pt x="5479450" y="3069877"/>
                </a:lnTo>
                <a:lnTo>
                  <a:pt x="5479450" y="3088468"/>
                </a:lnTo>
                <a:lnTo>
                  <a:pt x="5527271" y="3088468"/>
                </a:lnTo>
                <a:lnTo>
                  <a:pt x="5576781" y="3160845"/>
                </a:lnTo>
                <a:lnTo>
                  <a:pt x="5601039" y="3160845"/>
                </a:lnTo>
                <a:lnTo>
                  <a:pt x="5549540" y="3086977"/>
                </a:lnTo>
                <a:lnTo>
                  <a:pt x="5550932" y="3086679"/>
                </a:lnTo>
                <a:cubicBezTo>
                  <a:pt x="5553418" y="3086181"/>
                  <a:pt x="5554909" y="3085784"/>
                  <a:pt x="5555506" y="3085585"/>
                </a:cubicBezTo>
                <a:cubicBezTo>
                  <a:pt x="5579963" y="3078924"/>
                  <a:pt x="5595174" y="3060730"/>
                  <a:pt x="5595174" y="3038162"/>
                </a:cubicBezTo>
                <a:cubicBezTo>
                  <a:pt x="5595174" y="3025436"/>
                  <a:pt x="5590700" y="3013904"/>
                  <a:pt x="5582150" y="3004857"/>
                </a:cubicBezTo>
                <a:cubicBezTo>
                  <a:pt x="5571114" y="2993324"/>
                  <a:pt x="5555406" y="2987657"/>
                  <a:pt x="5534230" y="2987657"/>
                </a:cubicBezTo>
                <a:close/>
                <a:moveTo>
                  <a:pt x="5247507" y="2987657"/>
                </a:moveTo>
                <a:lnTo>
                  <a:pt x="5247507" y="3160845"/>
                </a:lnTo>
                <a:lnTo>
                  <a:pt x="5268783" y="3160845"/>
                </a:lnTo>
                <a:lnTo>
                  <a:pt x="5268783" y="3092345"/>
                </a:lnTo>
                <a:lnTo>
                  <a:pt x="5272759" y="3088369"/>
                </a:lnTo>
                <a:lnTo>
                  <a:pt x="5361540" y="3088369"/>
                </a:lnTo>
                <a:lnTo>
                  <a:pt x="5361540" y="3069777"/>
                </a:lnTo>
                <a:lnTo>
                  <a:pt x="5272759" y="3069777"/>
                </a:lnTo>
                <a:lnTo>
                  <a:pt x="5268783" y="3065801"/>
                </a:lnTo>
                <a:lnTo>
                  <a:pt x="5268783" y="3011717"/>
                </a:lnTo>
                <a:lnTo>
                  <a:pt x="5272759" y="3007740"/>
                </a:lnTo>
                <a:lnTo>
                  <a:pt x="5382517" y="3007740"/>
                </a:lnTo>
                <a:lnTo>
                  <a:pt x="5382517" y="2987657"/>
                </a:lnTo>
                <a:close/>
                <a:moveTo>
                  <a:pt x="5096092" y="2987657"/>
                </a:moveTo>
                <a:lnTo>
                  <a:pt x="5016358" y="3160845"/>
                </a:lnTo>
                <a:lnTo>
                  <a:pt x="5038230" y="3160845"/>
                </a:lnTo>
                <a:lnTo>
                  <a:pt x="5102654" y="3016290"/>
                </a:lnTo>
                <a:lnTo>
                  <a:pt x="5108519" y="3016290"/>
                </a:lnTo>
                <a:lnTo>
                  <a:pt x="5142023" y="3090258"/>
                </a:lnTo>
                <a:lnTo>
                  <a:pt x="5090027" y="3090258"/>
                </a:lnTo>
                <a:lnTo>
                  <a:pt x="5081776" y="3108849"/>
                </a:lnTo>
                <a:lnTo>
                  <a:pt x="5150176" y="3108849"/>
                </a:lnTo>
                <a:lnTo>
                  <a:pt x="5173141" y="3160845"/>
                </a:lnTo>
                <a:lnTo>
                  <a:pt x="5196306" y="3160845"/>
                </a:lnTo>
                <a:lnTo>
                  <a:pt x="5116672" y="2987657"/>
                </a:lnTo>
                <a:close/>
                <a:moveTo>
                  <a:pt x="4842773" y="2972446"/>
                </a:moveTo>
                <a:lnTo>
                  <a:pt x="4844662" y="2974733"/>
                </a:lnTo>
                <a:lnTo>
                  <a:pt x="4687481" y="3108352"/>
                </a:lnTo>
                <a:lnTo>
                  <a:pt x="4733909" y="3231631"/>
                </a:lnTo>
                <a:cubicBezTo>
                  <a:pt x="4691656" y="3229742"/>
                  <a:pt x="4650199" y="3210952"/>
                  <a:pt x="4620771" y="3176255"/>
                </a:cubicBezTo>
                <a:cubicBezTo>
                  <a:pt x="4591243" y="3141558"/>
                  <a:pt x="4579412" y="3097714"/>
                  <a:pt x="4584284" y="3055660"/>
                </a:cubicBezTo>
                <a:lnTo>
                  <a:pt x="4669486" y="3099205"/>
                </a:lnTo>
                <a:lnTo>
                  <a:pt x="4683305" y="3087474"/>
                </a:lnTo>
                <a:lnTo>
                  <a:pt x="4596910" y="3043332"/>
                </a:lnTo>
                <a:cubicBezTo>
                  <a:pt x="4597109" y="3041940"/>
                  <a:pt x="4597109" y="3041841"/>
                  <a:pt x="4597308" y="3040449"/>
                </a:cubicBezTo>
                <a:close/>
                <a:moveTo>
                  <a:pt x="4742347" y="2916002"/>
                </a:moveTo>
                <a:cubicBezTo>
                  <a:pt x="4778995" y="2916325"/>
                  <a:pt x="4815382" y="2929299"/>
                  <a:pt x="4844363" y="2954352"/>
                </a:cubicBezTo>
                <a:lnTo>
                  <a:pt x="4591144" y="3024442"/>
                </a:lnTo>
                <a:cubicBezTo>
                  <a:pt x="4599893" y="2997699"/>
                  <a:pt x="4615899" y="2973043"/>
                  <a:pt x="4638765" y="2953557"/>
                </a:cubicBezTo>
                <a:cubicBezTo>
                  <a:pt x="4668789" y="2928006"/>
                  <a:pt x="4705699" y="2915678"/>
                  <a:pt x="4742347" y="2916002"/>
                </a:cubicBezTo>
                <a:close/>
                <a:moveTo>
                  <a:pt x="4755247" y="2899411"/>
                </a:moveTo>
                <a:cubicBezTo>
                  <a:pt x="4710595" y="2895794"/>
                  <a:pt x="4664564" y="2909216"/>
                  <a:pt x="4627730" y="2940533"/>
                </a:cubicBezTo>
                <a:cubicBezTo>
                  <a:pt x="4554061" y="3003167"/>
                  <a:pt x="4545113" y="3113621"/>
                  <a:pt x="4607747" y="3187290"/>
                </a:cubicBezTo>
                <a:cubicBezTo>
                  <a:pt x="4670381" y="3260960"/>
                  <a:pt x="4780835" y="3269907"/>
                  <a:pt x="4854504" y="3207273"/>
                </a:cubicBezTo>
                <a:cubicBezTo>
                  <a:pt x="4928173" y="3144640"/>
                  <a:pt x="4937121" y="3034185"/>
                  <a:pt x="4874487" y="2960516"/>
                </a:cubicBezTo>
                <a:cubicBezTo>
                  <a:pt x="4843170" y="2923681"/>
                  <a:pt x="4799898" y="2903027"/>
                  <a:pt x="4755247" y="2899411"/>
                </a:cubicBezTo>
                <a:close/>
                <a:moveTo>
                  <a:pt x="0" y="0"/>
                </a:moveTo>
                <a:lnTo>
                  <a:pt x="6091003" y="0"/>
                </a:lnTo>
                <a:lnTo>
                  <a:pt x="6091003" y="3419854"/>
                </a:lnTo>
                <a:lnTo>
                  <a:pt x="0" y="341985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B275D9B-4952-9E1A-4ADC-2FB7782953BF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B3CC7D23-A341-10FA-0CBB-A3DCF7B2EBC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3E3E063-CB59-E49E-9FB6-CFD2B42AF8B9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EAACEF0B-89F9-043F-C039-A13593521E0B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49245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609226" cy="108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a headline of maximum two lines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14879B7-B2B8-9F48-B351-AC765554A00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62700" y="3430988"/>
            <a:ext cx="227647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9681B394-3754-194C-AE3E-B1010955E31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5175" y="2533650"/>
            <a:ext cx="4570413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0ABC6C84-A2D2-6249-BEC4-0F5D1FC6820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362700" y="3907077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B0BDC4C-BA1A-0842-804E-D9C28D21233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F50E830-E4F2-4B42-87CF-21EFF7044E3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CA08B84-78F0-0044-9227-710ACA7CDE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75784A6-D942-074D-A5F9-691F49F21EB8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A6ACE49-EF1A-4E7D-B44B-1149499D77D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BBAE07E-D557-0F30-8AC4-CF6E5EBD1698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1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38385F-0CBE-2C4D-FA37-D4D58810183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939C7006-AC21-2EAE-62F0-A1191BEBC54B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E0C32F6-FC8C-7462-2E1E-382CFBB4E63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82690E85-1C33-B1F6-8FF5-75171C21C7EA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493708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1/3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-2"/>
            <a:ext cx="9226445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64C3A62-C064-BD4C-A5E2-1FAD15A477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226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7872375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20" name="Platshållare för text 17">
            <a:extLst>
              <a:ext uri="{FF2B5EF4-FFF2-40B4-BE49-F238E27FC236}">
                <a16:creationId xmlns:a16="http://schemas.microsoft.com/office/drawing/2014/main" id="{EC7DB474-9261-E249-B1A5-4FFF8E2BEC27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F4B98AE7-41C5-7D44-98D0-D57405F4324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4931175" y="2533650"/>
            <a:ext cx="3708000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65FF09-22A2-104F-BB69-1569CD70277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3B5A6A5-88DD-564C-91FD-66317EBCE50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7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7899422-D744-4D56-B939-801A4213F27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ABC6EE2-ADA1-5B48-9496-8E04182E765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7501B9D-7125-4947-9AD2-2BE9CF91068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5E198C-C98C-6316-82AC-F593D9A4D9F5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10"/>
            </p:custDataLst>
          </p:nvPr>
        </p:nvSpPr>
        <p:spPr>
          <a:xfrm>
            <a:off x="9138900" y="3"/>
            <a:ext cx="3053100" cy="6857999"/>
          </a:xfrm>
          <a:custGeom>
            <a:avLst/>
            <a:gdLst>
              <a:gd name="connsiteX0" fmla="*/ 1837877 w 3053100"/>
              <a:gd name="connsiteY0" fmla="*/ 6429381 h 6857999"/>
              <a:gd name="connsiteX1" fmla="*/ 1805566 w 3053100"/>
              <a:gd name="connsiteY1" fmla="*/ 6632394 h 6857999"/>
              <a:gd name="connsiteX2" fmla="*/ 1727920 w 3053100"/>
              <a:gd name="connsiteY2" fmla="*/ 6667985 h 6857999"/>
              <a:gd name="connsiteX3" fmla="*/ 1817794 w 3053100"/>
              <a:gd name="connsiteY3" fmla="*/ 6425901 h 6857999"/>
              <a:gd name="connsiteX4" fmla="*/ 1819683 w 3053100"/>
              <a:gd name="connsiteY4" fmla="*/ 6428187 h 6857999"/>
              <a:gd name="connsiteX5" fmla="*/ 1713106 w 3053100"/>
              <a:gd name="connsiteY5" fmla="*/ 6659436 h 6857999"/>
              <a:gd name="connsiteX6" fmla="*/ 1710223 w 3053100"/>
              <a:gd name="connsiteY6" fmla="*/ 6659336 h 6857999"/>
              <a:gd name="connsiteX7" fmla="*/ 1669660 w 3053100"/>
              <a:gd name="connsiteY7" fmla="*/ 6551765 h 6857999"/>
              <a:gd name="connsiteX8" fmla="*/ 2596641 w 3053100"/>
              <a:gd name="connsiteY8" fmla="*/ 6425801 h 6857999"/>
              <a:gd name="connsiteX9" fmla="*/ 2668521 w 3053100"/>
              <a:gd name="connsiteY9" fmla="*/ 6528203 h 6857999"/>
              <a:gd name="connsiteX10" fmla="*/ 2668521 w 3053100"/>
              <a:gd name="connsiteY10" fmla="*/ 6598989 h 6857999"/>
              <a:gd name="connsiteX11" fmla="*/ 2689697 w 3053100"/>
              <a:gd name="connsiteY11" fmla="*/ 6598989 h 6857999"/>
              <a:gd name="connsiteX12" fmla="*/ 2689697 w 3053100"/>
              <a:gd name="connsiteY12" fmla="*/ 6528203 h 6857999"/>
              <a:gd name="connsiteX13" fmla="*/ 2761577 w 3053100"/>
              <a:gd name="connsiteY13" fmla="*/ 6425801 h 6857999"/>
              <a:gd name="connsiteX14" fmla="*/ 2737219 w 3053100"/>
              <a:gd name="connsiteY14" fmla="*/ 6425801 h 6857999"/>
              <a:gd name="connsiteX15" fmla="*/ 2681644 w 3053100"/>
              <a:gd name="connsiteY15" fmla="*/ 6506032 h 6857999"/>
              <a:gd name="connsiteX16" fmla="*/ 2676773 w 3053100"/>
              <a:gd name="connsiteY16" fmla="*/ 6506032 h 6857999"/>
              <a:gd name="connsiteX17" fmla="*/ 2620999 w 3053100"/>
              <a:gd name="connsiteY17" fmla="*/ 6425801 h 6857999"/>
              <a:gd name="connsiteX18" fmla="*/ 2401780 w 3053100"/>
              <a:gd name="connsiteY18" fmla="*/ 6425801 h 6857999"/>
              <a:gd name="connsiteX19" fmla="*/ 2401780 w 3053100"/>
              <a:gd name="connsiteY19" fmla="*/ 6598989 h 6857999"/>
              <a:gd name="connsiteX20" fmla="*/ 2423056 w 3053100"/>
              <a:gd name="connsiteY20" fmla="*/ 6598989 h 6857999"/>
              <a:gd name="connsiteX21" fmla="*/ 2423056 w 3053100"/>
              <a:gd name="connsiteY21" fmla="*/ 6448369 h 6857999"/>
              <a:gd name="connsiteX22" fmla="*/ 2427032 w 3053100"/>
              <a:gd name="connsiteY22" fmla="*/ 6444393 h 6857999"/>
              <a:gd name="connsiteX23" fmla="*/ 2496327 w 3053100"/>
              <a:gd name="connsiteY23" fmla="*/ 6444393 h 6857999"/>
              <a:gd name="connsiteX24" fmla="*/ 2527743 w 3053100"/>
              <a:gd name="connsiteY24" fmla="*/ 6455329 h 6857999"/>
              <a:gd name="connsiteX25" fmla="*/ 2536194 w 3053100"/>
              <a:gd name="connsiteY25" fmla="*/ 6476107 h 6857999"/>
              <a:gd name="connsiteX26" fmla="*/ 2502093 w 3053100"/>
              <a:gd name="connsiteY26" fmla="*/ 6508021 h 6857999"/>
              <a:gd name="connsiteX27" fmla="*/ 2441547 w 3053100"/>
              <a:gd name="connsiteY27" fmla="*/ 6508021 h 6857999"/>
              <a:gd name="connsiteX28" fmla="*/ 2441547 w 3053100"/>
              <a:gd name="connsiteY28" fmla="*/ 6526612 h 6857999"/>
              <a:gd name="connsiteX29" fmla="*/ 2489368 w 3053100"/>
              <a:gd name="connsiteY29" fmla="*/ 6526612 h 6857999"/>
              <a:gd name="connsiteX30" fmla="*/ 2538878 w 3053100"/>
              <a:gd name="connsiteY30" fmla="*/ 6598989 h 6857999"/>
              <a:gd name="connsiteX31" fmla="*/ 2563136 w 3053100"/>
              <a:gd name="connsiteY31" fmla="*/ 6598989 h 6857999"/>
              <a:gd name="connsiteX32" fmla="*/ 2511637 w 3053100"/>
              <a:gd name="connsiteY32" fmla="*/ 6525121 h 6857999"/>
              <a:gd name="connsiteX33" fmla="*/ 2513029 w 3053100"/>
              <a:gd name="connsiteY33" fmla="*/ 6524823 h 6857999"/>
              <a:gd name="connsiteX34" fmla="*/ 2517603 w 3053100"/>
              <a:gd name="connsiteY34" fmla="*/ 6523729 h 6857999"/>
              <a:gd name="connsiteX35" fmla="*/ 2557271 w 3053100"/>
              <a:gd name="connsiteY35" fmla="*/ 6476306 h 6857999"/>
              <a:gd name="connsiteX36" fmla="*/ 2544247 w 3053100"/>
              <a:gd name="connsiteY36" fmla="*/ 6443001 h 6857999"/>
              <a:gd name="connsiteX37" fmla="*/ 2496327 w 3053100"/>
              <a:gd name="connsiteY37" fmla="*/ 6425801 h 6857999"/>
              <a:gd name="connsiteX38" fmla="*/ 2209604 w 3053100"/>
              <a:gd name="connsiteY38" fmla="*/ 6425801 h 6857999"/>
              <a:gd name="connsiteX39" fmla="*/ 2209604 w 3053100"/>
              <a:gd name="connsiteY39" fmla="*/ 6598989 h 6857999"/>
              <a:gd name="connsiteX40" fmla="*/ 2230880 w 3053100"/>
              <a:gd name="connsiteY40" fmla="*/ 6598989 h 6857999"/>
              <a:gd name="connsiteX41" fmla="*/ 2230880 w 3053100"/>
              <a:gd name="connsiteY41" fmla="*/ 6530489 h 6857999"/>
              <a:gd name="connsiteX42" fmla="*/ 2234856 w 3053100"/>
              <a:gd name="connsiteY42" fmla="*/ 6526513 h 6857999"/>
              <a:gd name="connsiteX43" fmla="*/ 2323637 w 3053100"/>
              <a:gd name="connsiteY43" fmla="*/ 6526513 h 6857999"/>
              <a:gd name="connsiteX44" fmla="*/ 2323637 w 3053100"/>
              <a:gd name="connsiteY44" fmla="*/ 6507921 h 6857999"/>
              <a:gd name="connsiteX45" fmla="*/ 2234856 w 3053100"/>
              <a:gd name="connsiteY45" fmla="*/ 6507921 h 6857999"/>
              <a:gd name="connsiteX46" fmla="*/ 2230880 w 3053100"/>
              <a:gd name="connsiteY46" fmla="*/ 6503945 h 6857999"/>
              <a:gd name="connsiteX47" fmla="*/ 2230880 w 3053100"/>
              <a:gd name="connsiteY47" fmla="*/ 6449861 h 6857999"/>
              <a:gd name="connsiteX48" fmla="*/ 2234856 w 3053100"/>
              <a:gd name="connsiteY48" fmla="*/ 6445884 h 6857999"/>
              <a:gd name="connsiteX49" fmla="*/ 2344614 w 3053100"/>
              <a:gd name="connsiteY49" fmla="*/ 6445884 h 6857999"/>
              <a:gd name="connsiteX50" fmla="*/ 2344614 w 3053100"/>
              <a:gd name="connsiteY50" fmla="*/ 6425801 h 6857999"/>
              <a:gd name="connsiteX51" fmla="*/ 2058189 w 3053100"/>
              <a:gd name="connsiteY51" fmla="*/ 6425801 h 6857999"/>
              <a:gd name="connsiteX52" fmla="*/ 1978455 w 3053100"/>
              <a:gd name="connsiteY52" fmla="*/ 6598989 h 6857999"/>
              <a:gd name="connsiteX53" fmla="*/ 2000327 w 3053100"/>
              <a:gd name="connsiteY53" fmla="*/ 6598989 h 6857999"/>
              <a:gd name="connsiteX54" fmla="*/ 2064751 w 3053100"/>
              <a:gd name="connsiteY54" fmla="*/ 6454434 h 6857999"/>
              <a:gd name="connsiteX55" fmla="*/ 2070616 w 3053100"/>
              <a:gd name="connsiteY55" fmla="*/ 6454434 h 6857999"/>
              <a:gd name="connsiteX56" fmla="*/ 2104120 w 3053100"/>
              <a:gd name="connsiteY56" fmla="*/ 6528402 h 6857999"/>
              <a:gd name="connsiteX57" fmla="*/ 2052124 w 3053100"/>
              <a:gd name="connsiteY57" fmla="*/ 6528402 h 6857999"/>
              <a:gd name="connsiteX58" fmla="*/ 2043873 w 3053100"/>
              <a:gd name="connsiteY58" fmla="*/ 6546993 h 6857999"/>
              <a:gd name="connsiteX59" fmla="*/ 2112273 w 3053100"/>
              <a:gd name="connsiteY59" fmla="*/ 6546993 h 6857999"/>
              <a:gd name="connsiteX60" fmla="*/ 2135238 w 3053100"/>
              <a:gd name="connsiteY60" fmla="*/ 6598989 h 6857999"/>
              <a:gd name="connsiteX61" fmla="*/ 2158403 w 3053100"/>
              <a:gd name="connsiteY61" fmla="*/ 6598989 h 6857999"/>
              <a:gd name="connsiteX62" fmla="*/ 2078769 w 3053100"/>
              <a:gd name="connsiteY62" fmla="*/ 6425801 h 6857999"/>
              <a:gd name="connsiteX63" fmla="*/ 1804870 w 3053100"/>
              <a:gd name="connsiteY63" fmla="*/ 6410590 h 6857999"/>
              <a:gd name="connsiteX64" fmla="*/ 1806759 w 3053100"/>
              <a:gd name="connsiteY64" fmla="*/ 6412877 h 6857999"/>
              <a:gd name="connsiteX65" fmla="*/ 1649578 w 3053100"/>
              <a:gd name="connsiteY65" fmla="*/ 6546496 h 6857999"/>
              <a:gd name="connsiteX66" fmla="*/ 1696006 w 3053100"/>
              <a:gd name="connsiteY66" fmla="*/ 6669775 h 6857999"/>
              <a:gd name="connsiteX67" fmla="*/ 1582868 w 3053100"/>
              <a:gd name="connsiteY67" fmla="*/ 6614399 h 6857999"/>
              <a:gd name="connsiteX68" fmla="*/ 1546381 w 3053100"/>
              <a:gd name="connsiteY68" fmla="*/ 6493804 h 6857999"/>
              <a:gd name="connsiteX69" fmla="*/ 1631583 w 3053100"/>
              <a:gd name="connsiteY69" fmla="*/ 6537349 h 6857999"/>
              <a:gd name="connsiteX70" fmla="*/ 1645402 w 3053100"/>
              <a:gd name="connsiteY70" fmla="*/ 6525618 h 6857999"/>
              <a:gd name="connsiteX71" fmla="*/ 1559007 w 3053100"/>
              <a:gd name="connsiteY71" fmla="*/ 6481476 h 6857999"/>
              <a:gd name="connsiteX72" fmla="*/ 1559405 w 3053100"/>
              <a:gd name="connsiteY72" fmla="*/ 6478593 h 6857999"/>
              <a:gd name="connsiteX73" fmla="*/ 1704444 w 3053100"/>
              <a:gd name="connsiteY73" fmla="*/ 6354146 h 6857999"/>
              <a:gd name="connsiteX74" fmla="*/ 1806460 w 3053100"/>
              <a:gd name="connsiteY74" fmla="*/ 6392496 h 6857999"/>
              <a:gd name="connsiteX75" fmla="*/ 1553241 w 3053100"/>
              <a:gd name="connsiteY75" fmla="*/ 6462586 h 6857999"/>
              <a:gd name="connsiteX76" fmla="*/ 1600862 w 3053100"/>
              <a:gd name="connsiteY76" fmla="*/ 6391701 h 6857999"/>
              <a:gd name="connsiteX77" fmla="*/ 1704444 w 3053100"/>
              <a:gd name="connsiteY77" fmla="*/ 6354146 h 6857999"/>
              <a:gd name="connsiteX78" fmla="*/ 1717344 w 3053100"/>
              <a:gd name="connsiteY78" fmla="*/ 6337555 h 6857999"/>
              <a:gd name="connsiteX79" fmla="*/ 1589827 w 3053100"/>
              <a:gd name="connsiteY79" fmla="*/ 6378677 h 6857999"/>
              <a:gd name="connsiteX80" fmla="*/ 1569844 w 3053100"/>
              <a:gd name="connsiteY80" fmla="*/ 6625434 h 6857999"/>
              <a:gd name="connsiteX81" fmla="*/ 1816601 w 3053100"/>
              <a:gd name="connsiteY81" fmla="*/ 6645417 h 6857999"/>
              <a:gd name="connsiteX82" fmla="*/ 1836584 w 3053100"/>
              <a:gd name="connsiteY82" fmla="*/ 6398660 h 6857999"/>
              <a:gd name="connsiteX83" fmla="*/ 1717344 w 3053100"/>
              <a:gd name="connsiteY83" fmla="*/ 6337555 h 6857999"/>
              <a:gd name="connsiteX84" fmla="*/ 0 w 3053100"/>
              <a:gd name="connsiteY84" fmla="*/ 0 h 6857999"/>
              <a:gd name="connsiteX85" fmla="*/ 3053100 w 3053100"/>
              <a:gd name="connsiteY85" fmla="*/ 0 h 6857999"/>
              <a:gd name="connsiteX86" fmla="*/ 3053100 w 3053100"/>
              <a:gd name="connsiteY86" fmla="*/ 6857999 h 6857999"/>
              <a:gd name="connsiteX87" fmla="*/ 0 w 3053100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53100" h="6857999">
                <a:moveTo>
                  <a:pt x="1837877" y="6429381"/>
                </a:moveTo>
                <a:cubicBezTo>
                  <a:pt x="1877942" y="6494599"/>
                  <a:pt x="1865614" y="6581392"/>
                  <a:pt x="1805566" y="6632394"/>
                </a:cubicBezTo>
                <a:cubicBezTo>
                  <a:pt x="1782600" y="6651880"/>
                  <a:pt x="1755657" y="6663710"/>
                  <a:pt x="1727920" y="6667985"/>
                </a:cubicBezTo>
                <a:close/>
                <a:moveTo>
                  <a:pt x="1817794" y="6425901"/>
                </a:moveTo>
                <a:lnTo>
                  <a:pt x="1819683" y="6428187"/>
                </a:lnTo>
                <a:lnTo>
                  <a:pt x="1713106" y="6659436"/>
                </a:lnTo>
                <a:cubicBezTo>
                  <a:pt x="1711714" y="6659336"/>
                  <a:pt x="1711615" y="6659336"/>
                  <a:pt x="1710223" y="6659336"/>
                </a:cubicBezTo>
                <a:lnTo>
                  <a:pt x="1669660" y="6551765"/>
                </a:lnTo>
                <a:close/>
                <a:moveTo>
                  <a:pt x="2596641" y="6425801"/>
                </a:moveTo>
                <a:lnTo>
                  <a:pt x="2668521" y="6528203"/>
                </a:lnTo>
                <a:lnTo>
                  <a:pt x="2668521" y="6598989"/>
                </a:lnTo>
                <a:lnTo>
                  <a:pt x="2689697" y="6598989"/>
                </a:lnTo>
                <a:lnTo>
                  <a:pt x="2689697" y="6528203"/>
                </a:lnTo>
                <a:lnTo>
                  <a:pt x="2761577" y="6425801"/>
                </a:lnTo>
                <a:lnTo>
                  <a:pt x="2737219" y="6425801"/>
                </a:lnTo>
                <a:lnTo>
                  <a:pt x="2681644" y="6506032"/>
                </a:lnTo>
                <a:lnTo>
                  <a:pt x="2676773" y="6506032"/>
                </a:lnTo>
                <a:lnTo>
                  <a:pt x="2620999" y="6425801"/>
                </a:lnTo>
                <a:close/>
                <a:moveTo>
                  <a:pt x="2401780" y="6425801"/>
                </a:moveTo>
                <a:lnTo>
                  <a:pt x="2401780" y="6598989"/>
                </a:lnTo>
                <a:lnTo>
                  <a:pt x="2423056" y="6598989"/>
                </a:lnTo>
                <a:lnTo>
                  <a:pt x="2423056" y="6448369"/>
                </a:lnTo>
                <a:lnTo>
                  <a:pt x="2427032" y="6444393"/>
                </a:lnTo>
                <a:lnTo>
                  <a:pt x="2496327" y="6444393"/>
                </a:lnTo>
                <a:cubicBezTo>
                  <a:pt x="2506468" y="6444393"/>
                  <a:pt x="2518100" y="6445685"/>
                  <a:pt x="2527743" y="6455329"/>
                </a:cubicBezTo>
                <a:cubicBezTo>
                  <a:pt x="2533211" y="6461095"/>
                  <a:pt x="2536194" y="6468452"/>
                  <a:pt x="2536194" y="6476107"/>
                </a:cubicBezTo>
                <a:cubicBezTo>
                  <a:pt x="2536194" y="6494003"/>
                  <a:pt x="2521182" y="6508021"/>
                  <a:pt x="2502093" y="6508021"/>
                </a:cubicBezTo>
                <a:lnTo>
                  <a:pt x="2441547" y="6508021"/>
                </a:lnTo>
                <a:lnTo>
                  <a:pt x="2441547" y="6526612"/>
                </a:lnTo>
                <a:lnTo>
                  <a:pt x="2489368" y="6526612"/>
                </a:lnTo>
                <a:lnTo>
                  <a:pt x="2538878" y="6598989"/>
                </a:lnTo>
                <a:lnTo>
                  <a:pt x="2563136" y="6598989"/>
                </a:lnTo>
                <a:lnTo>
                  <a:pt x="2511637" y="6525121"/>
                </a:lnTo>
                <a:lnTo>
                  <a:pt x="2513029" y="6524823"/>
                </a:lnTo>
                <a:cubicBezTo>
                  <a:pt x="2515515" y="6524325"/>
                  <a:pt x="2517006" y="6523928"/>
                  <a:pt x="2517603" y="6523729"/>
                </a:cubicBezTo>
                <a:cubicBezTo>
                  <a:pt x="2542060" y="6517068"/>
                  <a:pt x="2557271" y="6498874"/>
                  <a:pt x="2557271" y="6476306"/>
                </a:cubicBezTo>
                <a:cubicBezTo>
                  <a:pt x="2557271" y="6463580"/>
                  <a:pt x="2552797" y="6452048"/>
                  <a:pt x="2544247" y="6443001"/>
                </a:cubicBezTo>
                <a:cubicBezTo>
                  <a:pt x="2533211" y="6431468"/>
                  <a:pt x="2517503" y="6425801"/>
                  <a:pt x="2496327" y="6425801"/>
                </a:cubicBezTo>
                <a:close/>
                <a:moveTo>
                  <a:pt x="2209604" y="6425801"/>
                </a:moveTo>
                <a:lnTo>
                  <a:pt x="2209604" y="6598989"/>
                </a:lnTo>
                <a:lnTo>
                  <a:pt x="2230880" y="6598989"/>
                </a:lnTo>
                <a:lnTo>
                  <a:pt x="2230880" y="6530489"/>
                </a:lnTo>
                <a:lnTo>
                  <a:pt x="2234856" y="6526513"/>
                </a:lnTo>
                <a:lnTo>
                  <a:pt x="2323637" y="6526513"/>
                </a:lnTo>
                <a:lnTo>
                  <a:pt x="2323637" y="6507921"/>
                </a:lnTo>
                <a:lnTo>
                  <a:pt x="2234856" y="6507921"/>
                </a:lnTo>
                <a:lnTo>
                  <a:pt x="2230880" y="6503945"/>
                </a:lnTo>
                <a:lnTo>
                  <a:pt x="2230880" y="6449861"/>
                </a:lnTo>
                <a:lnTo>
                  <a:pt x="2234856" y="6445884"/>
                </a:lnTo>
                <a:lnTo>
                  <a:pt x="2344614" y="6445884"/>
                </a:lnTo>
                <a:lnTo>
                  <a:pt x="2344614" y="6425801"/>
                </a:lnTo>
                <a:close/>
                <a:moveTo>
                  <a:pt x="2058189" y="6425801"/>
                </a:moveTo>
                <a:lnTo>
                  <a:pt x="1978455" y="6598989"/>
                </a:lnTo>
                <a:lnTo>
                  <a:pt x="2000327" y="6598989"/>
                </a:lnTo>
                <a:lnTo>
                  <a:pt x="2064751" y="6454434"/>
                </a:lnTo>
                <a:lnTo>
                  <a:pt x="2070616" y="6454434"/>
                </a:lnTo>
                <a:lnTo>
                  <a:pt x="2104120" y="6528402"/>
                </a:lnTo>
                <a:lnTo>
                  <a:pt x="2052124" y="6528402"/>
                </a:lnTo>
                <a:lnTo>
                  <a:pt x="2043873" y="6546993"/>
                </a:lnTo>
                <a:lnTo>
                  <a:pt x="2112273" y="6546993"/>
                </a:lnTo>
                <a:lnTo>
                  <a:pt x="2135238" y="6598989"/>
                </a:lnTo>
                <a:lnTo>
                  <a:pt x="2158403" y="6598989"/>
                </a:lnTo>
                <a:lnTo>
                  <a:pt x="2078769" y="6425801"/>
                </a:lnTo>
                <a:close/>
                <a:moveTo>
                  <a:pt x="1804870" y="6410590"/>
                </a:moveTo>
                <a:lnTo>
                  <a:pt x="1806759" y="6412877"/>
                </a:lnTo>
                <a:lnTo>
                  <a:pt x="1649578" y="6546496"/>
                </a:lnTo>
                <a:lnTo>
                  <a:pt x="1696006" y="6669775"/>
                </a:lnTo>
                <a:cubicBezTo>
                  <a:pt x="1653753" y="6667886"/>
                  <a:pt x="1612296" y="6649096"/>
                  <a:pt x="1582868" y="6614399"/>
                </a:cubicBezTo>
                <a:cubicBezTo>
                  <a:pt x="1553340" y="6579702"/>
                  <a:pt x="1541509" y="6535858"/>
                  <a:pt x="1546381" y="6493804"/>
                </a:cubicBezTo>
                <a:lnTo>
                  <a:pt x="1631583" y="6537349"/>
                </a:lnTo>
                <a:lnTo>
                  <a:pt x="1645402" y="6525618"/>
                </a:lnTo>
                <a:lnTo>
                  <a:pt x="1559007" y="6481476"/>
                </a:lnTo>
                <a:cubicBezTo>
                  <a:pt x="1559206" y="6480084"/>
                  <a:pt x="1559206" y="6479985"/>
                  <a:pt x="1559405" y="6478593"/>
                </a:cubicBezTo>
                <a:close/>
                <a:moveTo>
                  <a:pt x="1704444" y="6354146"/>
                </a:moveTo>
                <a:cubicBezTo>
                  <a:pt x="1741092" y="6354469"/>
                  <a:pt x="1777480" y="6367443"/>
                  <a:pt x="1806460" y="6392496"/>
                </a:cubicBezTo>
                <a:lnTo>
                  <a:pt x="1553241" y="6462586"/>
                </a:lnTo>
                <a:cubicBezTo>
                  <a:pt x="1561990" y="6435843"/>
                  <a:pt x="1577996" y="6411187"/>
                  <a:pt x="1600862" y="6391701"/>
                </a:cubicBezTo>
                <a:cubicBezTo>
                  <a:pt x="1630886" y="6366150"/>
                  <a:pt x="1667796" y="6353822"/>
                  <a:pt x="1704444" y="6354146"/>
                </a:cubicBezTo>
                <a:close/>
                <a:moveTo>
                  <a:pt x="1717344" y="6337555"/>
                </a:moveTo>
                <a:cubicBezTo>
                  <a:pt x="1672692" y="6333939"/>
                  <a:pt x="1626662" y="6347360"/>
                  <a:pt x="1589827" y="6378677"/>
                </a:cubicBezTo>
                <a:cubicBezTo>
                  <a:pt x="1516158" y="6441311"/>
                  <a:pt x="1507210" y="6551765"/>
                  <a:pt x="1569844" y="6625434"/>
                </a:cubicBezTo>
                <a:cubicBezTo>
                  <a:pt x="1632478" y="6699104"/>
                  <a:pt x="1742932" y="6708051"/>
                  <a:pt x="1816601" y="6645417"/>
                </a:cubicBezTo>
                <a:cubicBezTo>
                  <a:pt x="1890270" y="6582784"/>
                  <a:pt x="1899218" y="6472329"/>
                  <a:pt x="1836584" y="6398660"/>
                </a:cubicBezTo>
                <a:cubicBezTo>
                  <a:pt x="1805267" y="6361825"/>
                  <a:pt x="1761995" y="6341171"/>
                  <a:pt x="1717344" y="6337555"/>
                </a:cubicBezTo>
                <a:close/>
                <a:moveTo>
                  <a:pt x="0" y="0"/>
                </a:moveTo>
                <a:lnTo>
                  <a:pt x="3053100" y="0"/>
                </a:lnTo>
                <a:lnTo>
                  <a:pt x="30531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  <a:p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1683FF-9D87-1CC1-8123-24FA1EC24252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16" name="textruta 5">
              <a:extLst>
                <a:ext uri="{FF2B5EF4-FFF2-40B4-BE49-F238E27FC236}">
                  <a16:creationId xmlns:a16="http://schemas.microsoft.com/office/drawing/2014/main" id="{5F109DBB-A809-6842-88FF-19704BD6D676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BC7A2D96-E558-7103-94DD-BC0347D428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73B2DBD8-3F3D-ABF3-83DB-B8C97925183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696960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 of maximum two lines 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2A8A40C-A03F-544A-8536-901204B8D62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6" name="Platshållare för text 17">
            <a:extLst>
              <a:ext uri="{FF2B5EF4-FFF2-40B4-BE49-F238E27FC236}">
                <a16:creationId xmlns:a16="http://schemas.microsoft.com/office/drawing/2014/main" id="{833F5092-1DCC-C34E-AA33-E46555CD7AB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65177" y="2533650"/>
            <a:ext cx="5070916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Platshållare för text 17">
            <a:extLst>
              <a:ext uri="{FF2B5EF4-FFF2-40B4-BE49-F238E27FC236}">
                <a16:creationId xmlns:a16="http://schemas.microsoft.com/office/drawing/2014/main" id="{EE965217-E7A2-0745-BFE0-B87EAF528DF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354000" y="2533650"/>
            <a:ext cx="506139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9A5A164-C356-4A44-AC2A-38FA924C577C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5703A15-E1FD-4142-8F50-6D829EC0981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56CA21AC-C0C2-D640-9D84-9A1F12687E9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FB41125-F7A3-1341-91E9-F5F5FDF9028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F85C1D0F-A733-EAE5-DB96-5E45C0D19BC6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8B971B-20A1-C92E-BD7E-6CDE26ECEEF0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27B618BA-2A5F-35FD-2385-907E83D7368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D0EC852B-0469-1CB7-6846-1CE433BE3A93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02999560-4A99-A22D-949F-E8728C228865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51EDD97-2C62-A1CB-C928-C22998B2A22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08206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90BDDD-F4AA-4142-9EDE-AAA013B6FE7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2D3970E7-0EE5-A4D0-62E6-472E2B42F76E}"/>
              </a:ext>
            </a:extLst>
          </p:cNvPr>
          <p:cNvGrpSpPr/>
          <p:nvPr userDrawn="1">
            <p:custDataLst>
              <p:tags r:id="rId10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CBC2B7F-9284-CD31-62B6-FF599C225D8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24E8CA5D-06B9-28D4-A4C4-2C4FAD3CA9B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56AC86CB-53B1-7299-973F-A5DA33C7A6E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878197D7-A7FE-B262-A514-137FF90163C9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E1DFC415-4079-B463-DC81-AB5003ABA4B6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ruta 5">
            <a:extLst>
              <a:ext uri="{FF2B5EF4-FFF2-40B4-BE49-F238E27FC236}">
                <a16:creationId xmlns:a16="http://schemas.microsoft.com/office/drawing/2014/main" id="{5AD355BD-39D6-23CA-DB88-5B3FC8DFBA4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2310246" y="11872"/>
            <a:ext cx="2106398" cy="236951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Change the color </a:t>
            </a:r>
            <a:b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f the background</a:t>
            </a:r>
          </a:p>
          <a:p>
            <a:pPr algn="l"/>
            <a:endParaRPr lang="en-GB" sz="900" baseline="0" noProof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If you need to change the color of the background, right click outside the work area,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Format Background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from context menu, and select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Solid fill.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You may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only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 use White or Tan (Background 2) from </a:t>
            </a:r>
            <a:b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heme colors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7927200C-573C-EC07-47BD-E38CA0D21517}"/>
              </a:ext>
            </a:extLst>
          </p:cNvPr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 rotWithShape="1">
          <a:blip r:embed="rId16"/>
          <a:srcRect t="48755"/>
          <a:stretch/>
        </p:blipFill>
        <p:spPr>
          <a:xfrm>
            <a:off x="12500500" y="1975857"/>
            <a:ext cx="1774665" cy="25021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3EB7D05-90F0-2BB8-6901-8A72D6B4B23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2538463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A687E42-E4DC-E106-EF5F-FB9B4F7E372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2878188" y="2016125"/>
            <a:ext cx="164461" cy="174625"/>
          </a:xfrm>
          <a:prstGeom prst="rect">
            <a:avLst/>
          </a:prstGeom>
          <a:noFill/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007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/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CF48E11-E95E-44CF-8B0C-17EC78FA5E84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7938" indent="0" algn="ctr">
              <a:buNone/>
              <a:defRPr sz="1700"/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926825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F2C638E3-5294-C5C9-2662-2A112FA160F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tx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4563021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line bullet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5465F97-6ADC-888F-ED90-6F638449C6C2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6800" y="958738"/>
            <a:ext cx="10652464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3D4BA17B-D2D2-0E40-955E-A949CE803CB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EFA1247-9925-4C99-9BF4-47B364B2AC71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800D3BD-7E2F-724D-B646-07759D03712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D93521D3-D0C3-224B-8F8E-1394F0B879C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941D3B-633D-4B02-B803-AE66DC276EC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68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B6A82AA-CE99-4C1F-BD39-C77FD6BB5DF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548967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BB9A43A-2DC5-472B-9DCD-EAE241216B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6331134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2F91870-E0C6-478C-84F4-DC5F917E9A7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3300" y="2792153"/>
            <a:ext cx="2304000" cy="230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txBody>
          <a:bodyPr anchor="ctr"/>
          <a:lstStyle>
            <a:lvl1pPr marL="7938" indent="0" algn="ctr">
              <a:buNone/>
              <a:defRPr sz="1700">
                <a:solidFill>
                  <a:schemeClr val="tx1"/>
                </a:solidFill>
              </a:defRPr>
            </a:lvl1pPr>
            <a:lvl2pPr marL="312737" indent="0">
              <a:buNone/>
              <a:defRPr sz="1800"/>
            </a:lvl2pPr>
            <a:lvl3pPr marL="533400" indent="0">
              <a:buNone/>
              <a:defRPr sz="1800"/>
            </a:lvl3pPr>
            <a:lvl4pPr marL="711200" indent="0">
              <a:buNone/>
              <a:defRPr sz="1800"/>
            </a:lvl4pPr>
            <a:lvl5pPr marL="889000" indent="0">
              <a:buNone/>
              <a:defRPr sz="1800"/>
            </a:lvl5pPr>
          </a:lstStyle>
          <a:p>
            <a:pPr lvl="0"/>
            <a:r>
              <a:rPr lang="en-GB" noProof="0"/>
              <a:t>Click to add text</a:t>
            </a:r>
            <a:endParaRPr lang="en-GB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D45203A-CA26-214D-F7E2-15EE1F3810CC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11873"/>
            <a:ext cx="2106398" cy="2220688"/>
            <a:chOff x="12310246" y="-2"/>
            <a:chExt cx="2106398" cy="2220688"/>
          </a:xfrm>
        </p:grpSpPr>
        <p:sp>
          <p:nvSpPr>
            <p:cNvPr id="15" name="textruta 5">
              <a:extLst>
                <a:ext uri="{FF2B5EF4-FFF2-40B4-BE49-F238E27FC236}">
                  <a16:creationId xmlns:a16="http://schemas.microsoft.com/office/drawing/2014/main" id="{A1C497BB-14E4-A66E-2A26-5DA8B08DA360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16" name="Rektangel 17">
              <a:extLst>
                <a:ext uri="{FF2B5EF4-FFF2-40B4-BE49-F238E27FC236}">
                  <a16:creationId xmlns:a16="http://schemas.microsoft.com/office/drawing/2014/main" id="{F2BB9BB7-F984-8853-C791-C6268CAE6ED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ktangel 18">
              <a:extLst>
                <a:ext uri="{FF2B5EF4-FFF2-40B4-BE49-F238E27FC236}">
                  <a16:creationId xmlns:a16="http://schemas.microsoft.com/office/drawing/2014/main" id="{770F7050-B52C-9C9E-8B5A-B5C19AD64046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330457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079252D3-F9B9-1440-A05C-862FF4D0A0F7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355152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latshållare för bild 8">
            <a:extLst>
              <a:ext uri="{FF2B5EF4-FFF2-40B4-BE49-F238E27FC236}">
                <a16:creationId xmlns:a16="http://schemas.microsoft.com/office/drawing/2014/main" id="{1D2218CB-8E92-2B4E-A1FB-9843B78366A9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4"/>
            </p:custDataLst>
          </p:nvPr>
        </p:nvSpPr>
        <p:spPr>
          <a:xfrm>
            <a:off x="765851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latshållare för bild 8">
            <a:extLst>
              <a:ext uri="{FF2B5EF4-FFF2-40B4-BE49-F238E27FC236}">
                <a16:creationId xmlns:a16="http://schemas.microsoft.com/office/drawing/2014/main" id="{15FD10DF-777F-E640-8EBC-5454C20FEA3A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5"/>
            </p:custDataLst>
          </p:nvPr>
        </p:nvSpPr>
        <p:spPr>
          <a:xfrm>
            <a:off x="6352185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latshållare för bild 8">
            <a:extLst>
              <a:ext uri="{FF2B5EF4-FFF2-40B4-BE49-F238E27FC236}">
                <a16:creationId xmlns:a16="http://schemas.microsoft.com/office/drawing/2014/main" id="{E0F49B6C-C130-CB4A-86E8-9EAEB249ECCC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6"/>
            </p:custDataLst>
          </p:nvPr>
        </p:nvSpPr>
        <p:spPr>
          <a:xfrm>
            <a:off x="9145353" y="2527690"/>
            <a:ext cx="2284647" cy="23066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7937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1C70B76B-0ADF-4FB8-8570-65B295A5F9F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81619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CFB04B0D-1CDC-6C95-B55F-FD700D71BC22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"/>
            </p:custDataLst>
          </p:nvPr>
        </p:nvSpPr>
        <p:spPr>
          <a:xfrm>
            <a:off x="7668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A191F97-8A70-34E9-A196-DEB3B3FDF234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2"/>
            </p:custDataLst>
          </p:nvPr>
        </p:nvSpPr>
        <p:spPr>
          <a:xfrm>
            <a:off x="3553200" y="2527301"/>
            <a:ext cx="2286000" cy="2306637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1618AE3-16D5-4313-DA87-3D0A47AE689A}"/>
              </a:ext>
            </a:extLst>
          </p:cNvPr>
          <p:cNvSpPr>
            <a:spLocks noGrp="1"/>
          </p:cNvSpPr>
          <p:nvPr>
            <p:ph sz="quarter" idx="24" hasCustomPrompt="1"/>
            <p:custDataLst>
              <p:tags r:id="rId3"/>
            </p:custDataLst>
          </p:nvPr>
        </p:nvSpPr>
        <p:spPr>
          <a:xfrm>
            <a:off x="6354000" y="2527301"/>
            <a:ext cx="2286000" cy="2322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0ADA4317-1575-38AF-EFAB-1DC5F8F54C5C}"/>
              </a:ext>
            </a:extLst>
          </p:cNvPr>
          <p:cNvSpPr>
            <a:spLocks noGrp="1"/>
          </p:cNvSpPr>
          <p:nvPr>
            <p:ph sz="quarter" idx="25" hasCustomPrompt="1"/>
            <p:custDataLst>
              <p:tags r:id="rId4"/>
            </p:custDataLst>
          </p:nvPr>
        </p:nvSpPr>
        <p:spPr>
          <a:xfrm>
            <a:off x="9142413" y="2527301"/>
            <a:ext cx="2286000" cy="23076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765351" y="958738"/>
            <a:ext cx="10644969" cy="1049944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6801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98A7E7C-EBA3-4946-A92A-EE11A925619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66799" y="4994569"/>
            <a:ext cx="227895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E9C9C1B-B1B4-7845-87C4-F8B51A6B6D1D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3551522" y="4994569"/>
            <a:ext cx="2292065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6108832-7A17-8746-8132-A3CF36635EA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354683" y="4994569"/>
            <a:ext cx="2282149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A55B0C2-10DB-9F4D-88B7-A46E96C0706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9142853" y="4994569"/>
            <a:ext cx="2287147" cy="6112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18000"/>
              </a:lnSpc>
              <a:spcBef>
                <a:spcPts val="400"/>
              </a:spcBef>
              <a:buNone/>
              <a:defRPr sz="1200" spc="80" baseline="0">
                <a:solidFill>
                  <a:schemeClr val="tx1"/>
                </a:solidFill>
              </a:defRPr>
            </a:lvl1pPr>
            <a:lvl2pPr marL="223838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2pPr>
            <a:lvl3pPr marL="401637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3pPr>
            <a:lvl4pPr marL="5778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4pPr>
            <a:lvl5pPr marL="755650" indent="0">
              <a:lnSpc>
                <a:spcPct val="118000"/>
              </a:lnSpc>
              <a:spcBef>
                <a:spcPts val="400"/>
              </a:spcBef>
              <a:buNone/>
              <a:tabLst/>
              <a:defRPr sz="120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71E0EB7-2326-954D-B4D1-5E9575696538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5B29B33-3116-4CF6-8099-31E3D88A86D1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2403C5BC-52A7-9E41-AA44-F3818EA6EF7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AA3940B8-CF9A-6644-AE56-2023036CF5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658816DE-D985-3A9A-409D-A0328AA5A132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519A56A7-EA7A-1C4E-2CC4-8CD437BDC1BF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ADB433D4-5E80-FFD1-DD0E-8C959956E2B7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2317F908-9413-4790-5329-B9BC1E59823E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9DA572B3-BD14-8C54-FAB6-D07A190A8DB2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25">
              <a:extLst>
                <a:ext uri="{FF2B5EF4-FFF2-40B4-BE49-F238E27FC236}">
                  <a16:creationId xmlns:a16="http://schemas.microsoft.com/office/drawing/2014/main" id="{684F7FA0-8B19-FAFA-6706-F41F083F9119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984503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60DD23D-F687-46BD-A64F-DE56B825C0CC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256235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1162A72B-08F5-ED7C-517F-9688DED2648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351" y="958738"/>
            <a:ext cx="10644969" cy="1081088"/>
          </a:xfrm>
        </p:spPr>
        <p:txBody>
          <a:bodyPr/>
          <a:lstStyle/>
          <a:p>
            <a:r>
              <a:rPr lang="en-GB" dirty="0"/>
              <a:t>Click to add a headline of maximum two lin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1" y="463594"/>
            <a:ext cx="5076787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FFF09C65-4A1F-B54D-B408-A0AAF698CEC4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B761E0B-03EB-46AC-A22B-571A004BA76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B903D4C-3FF5-0D46-87F0-9DD35A5298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801923-E64D-9046-B724-93000FC0AF5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upp 26">
            <a:extLst>
              <a:ext uri="{FF2B5EF4-FFF2-40B4-BE49-F238E27FC236}">
                <a16:creationId xmlns:a16="http://schemas.microsoft.com/office/drawing/2014/main" id="{A8FB9F0E-1E56-F160-C310-7B7FE682B10F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1" name="Frihandsfigur 13">
              <a:extLst>
                <a:ext uri="{FF2B5EF4-FFF2-40B4-BE49-F238E27FC236}">
                  <a16:creationId xmlns:a16="http://schemas.microsoft.com/office/drawing/2014/main" id="{4507B73D-4A5B-0661-29CF-382F4BA69364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ihandsfigur 14">
              <a:extLst>
                <a:ext uri="{FF2B5EF4-FFF2-40B4-BE49-F238E27FC236}">
                  <a16:creationId xmlns:a16="http://schemas.microsoft.com/office/drawing/2014/main" id="{551A9EA3-7754-E9C3-03BC-9AA9F541954F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15">
              <a:extLst>
                <a:ext uri="{FF2B5EF4-FFF2-40B4-BE49-F238E27FC236}">
                  <a16:creationId xmlns:a16="http://schemas.microsoft.com/office/drawing/2014/main" id="{F335D20C-F954-B86A-10EE-2AECFA861B60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6">
              <a:extLst>
                <a:ext uri="{FF2B5EF4-FFF2-40B4-BE49-F238E27FC236}">
                  <a16:creationId xmlns:a16="http://schemas.microsoft.com/office/drawing/2014/main" id="{4483A1DF-493E-740D-2F68-BC3568BD28C3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25">
              <a:extLst>
                <a:ext uri="{FF2B5EF4-FFF2-40B4-BE49-F238E27FC236}">
                  <a16:creationId xmlns:a16="http://schemas.microsoft.com/office/drawing/2014/main" id="{56013580-5811-FFC3-255F-B467367A452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82421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B5B503F-F86F-4C25-9ED2-674BDE1F87F7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AB85FB12-C074-E761-7FE2-46AA1B0C7166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0928A429-014E-89CC-EE54-A73796A8F8EC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E886DD86-5BF2-5C78-E10E-C10574F5FF4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62CE4162-C8E1-07C6-539E-76B08F91E4B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7905329-340C-35CE-8370-7434207DD520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ED05F7C-D7F2-7D04-1C08-FA3FE1B961E8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745713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4A3B062-CE39-5B4D-88FF-636DA59A3A2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AB44D6E-ACD0-4862-91C7-658D1D0F5DDA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13019C4-76AC-5644-AD26-AB68D18FCD5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EF8E3F-AFA5-154D-84E1-276D6E93C7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365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EE2A754-CD74-0409-749A-F4DE0D159D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52400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AF409B80-EEF3-8B46-892B-DAA5CBF36E16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5176" y="2533650"/>
            <a:ext cx="5078411" cy="3556000"/>
          </a:xfrm>
        </p:spPr>
        <p:txBody>
          <a:bodyPr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BBB497C-D8F5-7641-B3F1-2307AE2B818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660F2F8-0F76-4EC6-A782-0B03D297415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DD22757-7F39-3842-8749-51A9EE024B2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8D29E8F-B1A7-DF43-A5EE-DFEE2D39670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BD729099-6A2C-EF0D-EAC2-3EF1BA2AA589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4" name="Frihandsfigur 13">
              <a:extLst>
                <a:ext uri="{FF2B5EF4-FFF2-40B4-BE49-F238E27FC236}">
                  <a16:creationId xmlns:a16="http://schemas.microsoft.com/office/drawing/2014/main" id="{B4707C91-7051-DA59-73E2-D60D63E92359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4">
              <a:extLst>
                <a:ext uri="{FF2B5EF4-FFF2-40B4-BE49-F238E27FC236}">
                  <a16:creationId xmlns:a16="http://schemas.microsoft.com/office/drawing/2014/main" id="{D9E1315C-5DE8-2F46-787D-0A5A19A9160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5">
              <a:extLst>
                <a:ext uri="{FF2B5EF4-FFF2-40B4-BE49-F238E27FC236}">
                  <a16:creationId xmlns:a16="http://schemas.microsoft.com/office/drawing/2014/main" id="{911FE31E-199D-FABF-D84D-3488E72ACEEA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6">
              <a:extLst>
                <a:ext uri="{FF2B5EF4-FFF2-40B4-BE49-F238E27FC236}">
                  <a16:creationId xmlns:a16="http://schemas.microsoft.com/office/drawing/2014/main" id="{5045DDA6-E4E5-07DE-37E5-A819D7EFDD5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68699F84-DC36-E434-D20A-BD16087FCB8A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438941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content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822980D6-50EE-6341-9302-94FD3497E1F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4400"/>
            <a:ext cx="5076788" cy="4248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17">
            <a:extLst>
              <a:ext uri="{FF2B5EF4-FFF2-40B4-BE49-F238E27FC236}">
                <a16:creationId xmlns:a16="http://schemas.microsoft.com/office/drawing/2014/main" id="{9FE333E4-0510-BD44-A741-D03FB47E37A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66800" y="2533650"/>
            <a:ext cx="5076788" cy="355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EFADC93-BFF5-E943-8490-598E5BDCEED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F7EE1371-1FF2-446C-93C7-A3B80283750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AC33689-167E-F446-B43E-8EF9971286B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DBC06278-C3E8-6745-AD7C-E32DF5767CB2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upp 26">
            <a:extLst>
              <a:ext uri="{FF2B5EF4-FFF2-40B4-BE49-F238E27FC236}">
                <a16:creationId xmlns:a16="http://schemas.microsoft.com/office/drawing/2014/main" id="{D49448A3-67AB-B402-7308-06C2AFABA28C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FC0F2642-A72C-F3EA-D6DD-26565B1E686E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4">
              <a:extLst>
                <a:ext uri="{FF2B5EF4-FFF2-40B4-BE49-F238E27FC236}">
                  <a16:creationId xmlns:a16="http://schemas.microsoft.com/office/drawing/2014/main" id="{65967166-3323-8B27-9A44-67263FE203D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5">
              <a:extLst>
                <a:ext uri="{FF2B5EF4-FFF2-40B4-BE49-F238E27FC236}">
                  <a16:creationId xmlns:a16="http://schemas.microsoft.com/office/drawing/2014/main" id="{D28F2C17-E19A-8602-9170-76BDB8528AE6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6">
              <a:extLst>
                <a:ext uri="{FF2B5EF4-FFF2-40B4-BE49-F238E27FC236}">
                  <a16:creationId xmlns:a16="http://schemas.microsoft.com/office/drawing/2014/main" id="{6B3D14B4-ABF0-62A8-B314-454C7DBF279F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25">
              <a:extLst>
                <a:ext uri="{FF2B5EF4-FFF2-40B4-BE49-F238E27FC236}">
                  <a16:creationId xmlns:a16="http://schemas.microsoft.com/office/drawing/2014/main" id="{122BBD43-1825-E80B-637B-9976153D7D9F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CBE4EF5C-14B6-F195-A147-6854069BD450}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9"/>
            </p:custDataLst>
          </p:nvPr>
        </p:nvSpPr>
        <p:spPr>
          <a:xfrm>
            <a:off x="6354000" y="2533650"/>
            <a:ext cx="5065200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5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ACA74-E79E-426E-B013-6DC9ED6B4DA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748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4">
            <a:extLst>
              <a:ext uri="{FF2B5EF4-FFF2-40B4-BE49-F238E27FC236}">
                <a16:creationId xmlns:a16="http://schemas.microsoft.com/office/drawing/2014/main" id="{57FDD870-9FB1-D959-168D-46394D9A994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178638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46277524-C1D2-0176-C6C7-6F1261AEF7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9114435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9114435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003AA8E-7F96-4C80-9184-6B6CA19C643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6" y="2533650"/>
            <a:ext cx="7800233" cy="3564000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11402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38FBFFEC-878C-4B63-9B0A-C594EF86C689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9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5760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with small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4">
            <a:extLst>
              <a:ext uri="{FF2B5EF4-FFF2-40B4-BE49-F238E27FC236}">
                <a16:creationId xmlns:a16="http://schemas.microsoft.com/office/drawing/2014/main" id="{1AEE7989-AAF0-4F5D-B1FA-1FFFE95DAED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6348413" y="3507024"/>
            <a:ext cx="2288905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348413" y="958737"/>
            <a:ext cx="5054926" cy="21432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headline of maximum three to four lines</a:t>
            </a:r>
          </a:p>
        </p:txBody>
      </p:sp>
      <p:sp>
        <p:nvSpPr>
          <p:cNvPr id="13" name="Platshållare för text 7">
            <a:extLst>
              <a:ext uri="{FF2B5EF4-FFF2-40B4-BE49-F238E27FC236}">
                <a16:creationId xmlns:a16="http://schemas.microsoft.com/office/drawing/2014/main" id="{69D92A65-6CF1-344C-AA81-206E6A352BE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6348413" y="3983113"/>
            <a:ext cx="2276475" cy="1352550"/>
          </a:xfrm>
        </p:spPr>
        <p:txBody>
          <a:bodyPr/>
          <a:lstStyle>
            <a:lvl1pPr marL="268288" indent="-261938">
              <a:tabLst/>
              <a:defRPr sz="1200">
                <a:solidFill>
                  <a:schemeClr val="bg1"/>
                </a:solidFill>
              </a:defRPr>
            </a:lvl1pPr>
            <a:lvl2pPr>
              <a:defRPr sz="115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5BB3D277-2770-4029-BB32-2DA076274AFB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0"/>
            </p:custDataLst>
          </p:nvPr>
        </p:nvSpPr>
        <p:spPr>
          <a:xfrm>
            <a:off x="765867" y="958738"/>
            <a:ext cx="5077722" cy="5138912"/>
          </a:xfrm>
        </p:spPr>
        <p:txBody>
          <a:bodyPr/>
          <a:lstStyle>
            <a:lvl1pPr marL="7938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2482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50AADD0D-3A79-164E-A242-EA9E0D0A41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6096000" cy="6858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958738"/>
            <a:ext cx="5076788" cy="10810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CA8147A8-1A4B-4834-978C-A459E955F69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8FADA-7FF6-A8E9-6BB0-CD41E81AC631}"/>
              </a:ext>
            </a:extLst>
          </p:cNvPr>
          <p:cNvSpPr>
            <a:spLocks noGrp="1"/>
          </p:cNvSpPr>
          <p:nvPr>
            <p:ph type="pic" sz="quarter" idx="22" hasCustomPrompt="1"/>
            <p:custDataLst>
              <p:tags r:id="rId7"/>
            </p:custDataLst>
          </p:nvPr>
        </p:nvSpPr>
        <p:spPr>
          <a:xfrm>
            <a:off x="6101754" y="493"/>
            <a:ext cx="6096000" cy="6857505"/>
          </a:xfrm>
          <a:custGeom>
            <a:avLst/>
            <a:gdLst>
              <a:gd name="connsiteX0" fmla="*/ 4883215 w 6096000"/>
              <a:gd name="connsiteY0" fmla="*/ 6428891 h 6857505"/>
              <a:gd name="connsiteX1" fmla="*/ 4850904 w 6096000"/>
              <a:gd name="connsiteY1" fmla="*/ 6631904 h 6857505"/>
              <a:gd name="connsiteX2" fmla="*/ 4773258 w 6096000"/>
              <a:gd name="connsiteY2" fmla="*/ 6667495 h 6857505"/>
              <a:gd name="connsiteX3" fmla="*/ 4863132 w 6096000"/>
              <a:gd name="connsiteY3" fmla="*/ 6425411 h 6857505"/>
              <a:gd name="connsiteX4" fmla="*/ 4865021 w 6096000"/>
              <a:gd name="connsiteY4" fmla="*/ 6427697 h 6857505"/>
              <a:gd name="connsiteX5" fmla="*/ 4758444 w 6096000"/>
              <a:gd name="connsiteY5" fmla="*/ 6658946 h 6857505"/>
              <a:gd name="connsiteX6" fmla="*/ 4755561 w 6096000"/>
              <a:gd name="connsiteY6" fmla="*/ 6658846 h 6857505"/>
              <a:gd name="connsiteX7" fmla="*/ 4714998 w 6096000"/>
              <a:gd name="connsiteY7" fmla="*/ 6551275 h 6857505"/>
              <a:gd name="connsiteX8" fmla="*/ 5641979 w 6096000"/>
              <a:gd name="connsiteY8" fmla="*/ 6425311 h 6857505"/>
              <a:gd name="connsiteX9" fmla="*/ 5713859 w 6096000"/>
              <a:gd name="connsiteY9" fmla="*/ 6527713 h 6857505"/>
              <a:gd name="connsiteX10" fmla="*/ 5713859 w 6096000"/>
              <a:gd name="connsiteY10" fmla="*/ 6598499 h 6857505"/>
              <a:gd name="connsiteX11" fmla="*/ 5735035 w 6096000"/>
              <a:gd name="connsiteY11" fmla="*/ 6598499 h 6857505"/>
              <a:gd name="connsiteX12" fmla="*/ 5735035 w 6096000"/>
              <a:gd name="connsiteY12" fmla="*/ 6527713 h 6857505"/>
              <a:gd name="connsiteX13" fmla="*/ 5806915 w 6096000"/>
              <a:gd name="connsiteY13" fmla="*/ 6425311 h 6857505"/>
              <a:gd name="connsiteX14" fmla="*/ 5782557 w 6096000"/>
              <a:gd name="connsiteY14" fmla="*/ 6425311 h 6857505"/>
              <a:gd name="connsiteX15" fmla="*/ 5726982 w 6096000"/>
              <a:gd name="connsiteY15" fmla="*/ 6505542 h 6857505"/>
              <a:gd name="connsiteX16" fmla="*/ 5722111 w 6096000"/>
              <a:gd name="connsiteY16" fmla="*/ 6505542 h 6857505"/>
              <a:gd name="connsiteX17" fmla="*/ 5666337 w 6096000"/>
              <a:gd name="connsiteY17" fmla="*/ 6425311 h 6857505"/>
              <a:gd name="connsiteX18" fmla="*/ 5447118 w 6096000"/>
              <a:gd name="connsiteY18" fmla="*/ 6425311 h 6857505"/>
              <a:gd name="connsiteX19" fmla="*/ 5447118 w 6096000"/>
              <a:gd name="connsiteY19" fmla="*/ 6598499 h 6857505"/>
              <a:gd name="connsiteX20" fmla="*/ 5468394 w 6096000"/>
              <a:gd name="connsiteY20" fmla="*/ 6598499 h 6857505"/>
              <a:gd name="connsiteX21" fmla="*/ 5468394 w 6096000"/>
              <a:gd name="connsiteY21" fmla="*/ 6447879 h 6857505"/>
              <a:gd name="connsiteX22" fmla="*/ 5472370 w 6096000"/>
              <a:gd name="connsiteY22" fmla="*/ 6443903 h 6857505"/>
              <a:gd name="connsiteX23" fmla="*/ 5541665 w 6096000"/>
              <a:gd name="connsiteY23" fmla="*/ 6443903 h 6857505"/>
              <a:gd name="connsiteX24" fmla="*/ 5573081 w 6096000"/>
              <a:gd name="connsiteY24" fmla="*/ 6454839 h 6857505"/>
              <a:gd name="connsiteX25" fmla="*/ 5581532 w 6096000"/>
              <a:gd name="connsiteY25" fmla="*/ 6475617 h 6857505"/>
              <a:gd name="connsiteX26" fmla="*/ 5547431 w 6096000"/>
              <a:gd name="connsiteY26" fmla="*/ 6507531 h 6857505"/>
              <a:gd name="connsiteX27" fmla="*/ 5486885 w 6096000"/>
              <a:gd name="connsiteY27" fmla="*/ 6507531 h 6857505"/>
              <a:gd name="connsiteX28" fmla="*/ 5486885 w 6096000"/>
              <a:gd name="connsiteY28" fmla="*/ 6526122 h 6857505"/>
              <a:gd name="connsiteX29" fmla="*/ 5534706 w 6096000"/>
              <a:gd name="connsiteY29" fmla="*/ 6526122 h 6857505"/>
              <a:gd name="connsiteX30" fmla="*/ 5584216 w 6096000"/>
              <a:gd name="connsiteY30" fmla="*/ 6598499 h 6857505"/>
              <a:gd name="connsiteX31" fmla="*/ 5608474 w 6096000"/>
              <a:gd name="connsiteY31" fmla="*/ 6598499 h 6857505"/>
              <a:gd name="connsiteX32" fmla="*/ 5556975 w 6096000"/>
              <a:gd name="connsiteY32" fmla="*/ 6524631 h 6857505"/>
              <a:gd name="connsiteX33" fmla="*/ 5558367 w 6096000"/>
              <a:gd name="connsiteY33" fmla="*/ 6524333 h 6857505"/>
              <a:gd name="connsiteX34" fmla="*/ 5562941 w 6096000"/>
              <a:gd name="connsiteY34" fmla="*/ 6523239 h 6857505"/>
              <a:gd name="connsiteX35" fmla="*/ 5602609 w 6096000"/>
              <a:gd name="connsiteY35" fmla="*/ 6475816 h 6857505"/>
              <a:gd name="connsiteX36" fmla="*/ 5589585 w 6096000"/>
              <a:gd name="connsiteY36" fmla="*/ 6442511 h 6857505"/>
              <a:gd name="connsiteX37" fmla="*/ 5541665 w 6096000"/>
              <a:gd name="connsiteY37" fmla="*/ 6425311 h 6857505"/>
              <a:gd name="connsiteX38" fmla="*/ 5254942 w 6096000"/>
              <a:gd name="connsiteY38" fmla="*/ 6425311 h 6857505"/>
              <a:gd name="connsiteX39" fmla="*/ 5254942 w 6096000"/>
              <a:gd name="connsiteY39" fmla="*/ 6598499 h 6857505"/>
              <a:gd name="connsiteX40" fmla="*/ 5276218 w 6096000"/>
              <a:gd name="connsiteY40" fmla="*/ 6598499 h 6857505"/>
              <a:gd name="connsiteX41" fmla="*/ 5276218 w 6096000"/>
              <a:gd name="connsiteY41" fmla="*/ 6529999 h 6857505"/>
              <a:gd name="connsiteX42" fmla="*/ 5280194 w 6096000"/>
              <a:gd name="connsiteY42" fmla="*/ 6526023 h 6857505"/>
              <a:gd name="connsiteX43" fmla="*/ 5368975 w 6096000"/>
              <a:gd name="connsiteY43" fmla="*/ 6526023 h 6857505"/>
              <a:gd name="connsiteX44" fmla="*/ 5368975 w 6096000"/>
              <a:gd name="connsiteY44" fmla="*/ 6507431 h 6857505"/>
              <a:gd name="connsiteX45" fmla="*/ 5280194 w 6096000"/>
              <a:gd name="connsiteY45" fmla="*/ 6507431 h 6857505"/>
              <a:gd name="connsiteX46" fmla="*/ 5276218 w 6096000"/>
              <a:gd name="connsiteY46" fmla="*/ 6503455 h 6857505"/>
              <a:gd name="connsiteX47" fmla="*/ 5276218 w 6096000"/>
              <a:gd name="connsiteY47" fmla="*/ 6449371 h 6857505"/>
              <a:gd name="connsiteX48" fmla="*/ 5280194 w 6096000"/>
              <a:gd name="connsiteY48" fmla="*/ 6445394 h 6857505"/>
              <a:gd name="connsiteX49" fmla="*/ 5389952 w 6096000"/>
              <a:gd name="connsiteY49" fmla="*/ 6445394 h 6857505"/>
              <a:gd name="connsiteX50" fmla="*/ 5389952 w 6096000"/>
              <a:gd name="connsiteY50" fmla="*/ 6425311 h 6857505"/>
              <a:gd name="connsiteX51" fmla="*/ 5103527 w 6096000"/>
              <a:gd name="connsiteY51" fmla="*/ 6425311 h 6857505"/>
              <a:gd name="connsiteX52" fmla="*/ 5023793 w 6096000"/>
              <a:gd name="connsiteY52" fmla="*/ 6598499 h 6857505"/>
              <a:gd name="connsiteX53" fmla="*/ 5045665 w 6096000"/>
              <a:gd name="connsiteY53" fmla="*/ 6598499 h 6857505"/>
              <a:gd name="connsiteX54" fmla="*/ 5110089 w 6096000"/>
              <a:gd name="connsiteY54" fmla="*/ 6453944 h 6857505"/>
              <a:gd name="connsiteX55" fmla="*/ 5115954 w 6096000"/>
              <a:gd name="connsiteY55" fmla="*/ 6453944 h 6857505"/>
              <a:gd name="connsiteX56" fmla="*/ 5149458 w 6096000"/>
              <a:gd name="connsiteY56" fmla="*/ 6527912 h 6857505"/>
              <a:gd name="connsiteX57" fmla="*/ 5097462 w 6096000"/>
              <a:gd name="connsiteY57" fmla="*/ 6527912 h 6857505"/>
              <a:gd name="connsiteX58" fmla="*/ 5089211 w 6096000"/>
              <a:gd name="connsiteY58" fmla="*/ 6546503 h 6857505"/>
              <a:gd name="connsiteX59" fmla="*/ 5157611 w 6096000"/>
              <a:gd name="connsiteY59" fmla="*/ 6546503 h 6857505"/>
              <a:gd name="connsiteX60" fmla="*/ 5180576 w 6096000"/>
              <a:gd name="connsiteY60" fmla="*/ 6598499 h 6857505"/>
              <a:gd name="connsiteX61" fmla="*/ 5203741 w 6096000"/>
              <a:gd name="connsiteY61" fmla="*/ 6598499 h 6857505"/>
              <a:gd name="connsiteX62" fmla="*/ 5124107 w 6096000"/>
              <a:gd name="connsiteY62" fmla="*/ 6425311 h 6857505"/>
              <a:gd name="connsiteX63" fmla="*/ 4850208 w 6096000"/>
              <a:gd name="connsiteY63" fmla="*/ 6410100 h 6857505"/>
              <a:gd name="connsiteX64" fmla="*/ 4852097 w 6096000"/>
              <a:gd name="connsiteY64" fmla="*/ 6412387 h 6857505"/>
              <a:gd name="connsiteX65" fmla="*/ 4694916 w 6096000"/>
              <a:gd name="connsiteY65" fmla="*/ 6546006 h 6857505"/>
              <a:gd name="connsiteX66" fmla="*/ 4741344 w 6096000"/>
              <a:gd name="connsiteY66" fmla="*/ 6669285 h 6857505"/>
              <a:gd name="connsiteX67" fmla="*/ 4628206 w 6096000"/>
              <a:gd name="connsiteY67" fmla="*/ 6613909 h 6857505"/>
              <a:gd name="connsiteX68" fmla="*/ 4591719 w 6096000"/>
              <a:gd name="connsiteY68" fmla="*/ 6493314 h 6857505"/>
              <a:gd name="connsiteX69" fmla="*/ 4676921 w 6096000"/>
              <a:gd name="connsiteY69" fmla="*/ 6536859 h 6857505"/>
              <a:gd name="connsiteX70" fmla="*/ 4690740 w 6096000"/>
              <a:gd name="connsiteY70" fmla="*/ 6525128 h 6857505"/>
              <a:gd name="connsiteX71" fmla="*/ 4604345 w 6096000"/>
              <a:gd name="connsiteY71" fmla="*/ 6480986 h 6857505"/>
              <a:gd name="connsiteX72" fmla="*/ 4604743 w 6096000"/>
              <a:gd name="connsiteY72" fmla="*/ 6478103 h 6857505"/>
              <a:gd name="connsiteX73" fmla="*/ 4749782 w 6096000"/>
              <a:gd name="connsiteY73" fmla="*/ 6353656 h 6857505"/>
              <a:gd name="connsiteX74" fmla="*/ 4851798 w 6096000"/>
              <a:gd name="connsiteY74" fmla="*/ 6392006 h 6857505"/>
              <a:gd name="connsiteX75" fmla="*/ 4598579 w 6096000"/>
              <a:gd name="connsiteY75" fmla="*/ 6462096 h 6857505"/>
              <a:gd name="connsiteX76" fmla="*/ 4646200 w 6096000"/>
              <a:gd name="connsiteY76" fmla="*/ 6391211 h 6857505"/>
              <a:gd name="connsiteX77" fmla="*/ 4749782 w 6096000"/>
              <a:gd name="connsiteY77" fmla="*/ 6353656 h 6857505"/>
              <a:gd name="connsiteX78" fmla="*/ 4762682 w 6096000"/>
              <a:gd name="connsiteY78" fmla="*/ 6337065 h 6857505"/>
              <a:gd name="connsiteX79" fmla="*/ 4635165 w 6096000"/>
              <a:gd name="connsiteY79" fmla="*/ 6378187 h 6857505"/>
              <a:gd name="connsiteX80" fmla="*/ 4615182 w 6096000"/>
              <a:gd name="connsiteY80" fmla="*/ 6624944 h 6857505"/>
              <a:gd name="connsiteX81" fmla="*/ 4861939 w 6096000"/>
              <a:gd name="connsiteY81" fmla="*/ 6644927 h 6857505"/>
              <a:gd name="connsiteX82" fmla="*/ 4881922 w 6096000"/>
              <a:gd name="connsiteY82" fmla="*/ 6398170 h 6857505"/>
              <a:gd name="connsiteX83" fmla="*/ 4762682 w 6096000"/>
              <a:gd name="connsiteY83" fmla="*/ 6337065 h 6857505"/>
              <a:gd name="connsiteX84" fmla="*/ 0 w 6096000"/>
              <a:gd name="connsiteY84" fmla="*/ 0 h 6857505"/>
              <a:gd name="connsiteX85" fmla="*/ 6096000 w 6096000"/>
              <a:gd name="connsiteY85" fmla="*/ 0 h 6857505"/>
              <a:gd name="connsiteX86" fmla="*/ 6096000 w 6096000"/>
              <a:gd name="connsiteY86" fmla="*/ 6857505 h 6857505"/>
              <a:gd name="connsiteX87" fmla="*/ 0 w 6096000"/>
              <a:gd name="connsiteY87" fmla="*/ 6857505 h 685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6096000" h="6857505">
                <a:moveTo>
                  <a:pt x="4883215" y="6428891"/>
                </a:moveTo>
                <a:cubicBezTo>
                  <a:pt x="4923280" y="6494109"/>
                  <a:pt x="4910952" y="6580902"/>
                  <a:pt x="4850904" y="6631904"/>
                </a:cubicBezTo>
                <a:cubicBezTo>
                  <a:pt x="4827938" y="6651390"/>
                  <a:pt x="4800995" y="6663220"/>
                  <a:pt x="4773258" y="6667495"/>
                </a:cubicBezTo>
                <a:close/>
                <a:moveTo>
                  <a:pt x="4863132" y="6425411"/>
                </a:moveTo>
                <a:lnTo>
                  <a:pt x="4865021" y="6427697"/>
                </a:lnTo>
                <a:lnTo>
                  <a:pt x="4758444" y="6658946"/>
                </a:lnTo>
                <a:cubicBezTo>
                  <a:pt x="4757052" y="6658846"/>
                  <a:pt x="4756953" y="6658846"/>
                  <a:pt x="4755561" y="6658846"/>
                </a:cubicBezTo>
                <a:lnTo>
                  <a:pt x="4714998" y="6551275"/>
                </a:lnTo>
                <a:close/>
                <a:moveTo>
                  <a:pt x="5641979" y="6425311"/>
                </a:moveTo>
                <a:lnTo>
                  <a:pt x="5713859" y="6527713"/>
                </a:lnTo>
                <a:lnTo>
                  <a:pt x="5713859" y="6598499"/>
                </a:lnTo>
                <a:lnTo>
                  <a:pt x="5735035" y="6598499"/>
                </a:lnTo>
                <a:lnTo>
                  <a:pt x="5735035" y="6527713"/>
                </a:lnTo>
                <a:lnTo>
                  <a:pt x="5806915" y="6425311"/>
                </a:lnTo>
                <a:lnTo>
                  <a:pt x="5782557" y="6425311"/>
                </a:lnTo>
                <a:lnTo>
                  <a:pt x="5726982" y="6505542"/>
                </a:lnTo>
                <a:lnTo>
                  <a:pt x="5722111" y="6505542"/>
                </a:lnTo>
                <a:lnTo>
                  <a:pt x="5666337" y="6425311"/>
                </a:lnTo>
                <a:close/>
                <a:moveTo>
                  <a:pt x="5447118" y="6425311"/>
                </a:moveTo>
                <a:lnTo>
                  <a:pt x="5447118" y="6598499"/>
                </a:lnTo>
                <a:lnTo>
                  <a:pt x="5468394" y="6598499"/>
                </a:lnTo>
                <a:lnTo>
                  <a:pt x="5468394" y="6447879"/>
                </a:lnTo>
                <a:lnTo>
                  <a:pt x="5472370" y="6443903"/>
                </a:lnTo>
                <a:lnTo>
                  <a:pt x="5541665" y="6443903"/>
                </a:lnTo>
                <a:cubicBezTo>
                  <a:pt x="5551806" y="6443903"/>
                  <a:pt x="5563438" y="6445195"/>
                  <a:pt x="5573081" y="6454839"/>
                </a:cubicBezTo>
                <a:cubicBezTo>
                  <a:pt x="5578549" y="6460605"/>
                  <a:pt x="5581532" y="6467962"/>
                  <a:pt x="5581532" y="6475617"/>
                </a:cubicBezTo>
                <a:cubicBezTo>
                  <a:pt x="5581532" y="6493513"/>
                  <a:pt x="5566520" y="6507531"/>
                  <a:pt x="5547431" y="6507531"/>
                </a:cubicBezTo>
                <a:lnTo>
                  <a:pt x="5486885" y="6507531"/>
                </a:lnTo>
                <a:lnTo>
                  <a:pt x="5486885" y="6526122"/>
                </a:lnTo>
                <a:lnTo>
                  <a:pt x="5534706" y="6526122"/>
                </a:lnTo>
                <a:lnTo>
                  <a:pt x="5584216" y="6598499"/>
                </a:lnTo>
                <a:lnTo>
                  <a:pt x="5608474" y="6598499"/>
                </a:lnTo>
                <a:lnTo>
                  <a:pt x="5556975" y="6524631"/>
                </a:lnTo>
                <a:lnTo>
                  <a:pt x="5558367" y="6524333"/>
                </a:lnTo>
                <a:cubicBezTo>
                  <a:pt x="5560853" y="6523835"/>
                  <a:pt x="5562344" y="6523438"/>
                  <a:pt x="5562941" y="6523239"/>
                </a:cubicBezTo>
                <a:cubicBezTo>
                  <a:pt x="5587398" y="6516578"/>
                  <a:pt x="5602609" y="6498384"/>
                  <a:pt x="5602609" y="6475816"/>
                </a:cubicBezTo>
                <a:cubicBezTo>
                  <a:pt x="5602609" y="6463090"/>
                  <a:pt x="5598135" y="6451558"/>
                  <a:pt x="5589585" y="6442511"/>
                </a:cubicBezTo>
                <a:cubicBezTo>
                  <a:pt x="5578549" y="6430978"/>
                  <a:pt x="5562841" y="6425311"/>
                  <a:pt x="5541665" y="6425311"/>
                </a:cubicBezTo>
                <a:close/>
                <a:moveTo>
                  <a:pt x="5254942" y="6425311"/>
                </a:moveTo>
                <a:lnTo>
                  <a:pt x="5254942" y="6598499"/>
                </a:lnTo>
                <a:lnTo>
                  <a:pt x="5276218" y="6598499"/>
                </a:lnTo>
                <a:lnTo>
                  <a:pt x="5276218" y="6529999"/>
                </a:lnTo>
                <a:lnTo>
                  <a:pt x="5280194" y="6526023"/>
                </a:lnTo>
                <a:lnTo>
                  <a:pt x="5368975" y="6526023"/>
                </a:lnTo>
                <a:lnTo>
                  <a:pt x="5368975" y="6507431"/>
                </a:lnTo>
                <a:lnTo>
                  <a:pt x="5280194" y="6507431"/>
                </a:lnTo>
                <a:lnTo>
                  <a:pt x="5276218" y="6503455"/>
                </a:lnTo>
                <a:lnTo>
                  <a:pt x="5276218" y="6449371"/>
                </a:lnTo>
                <a:lnTo>
                  <a:pt x="5280194" y="6445394"/>
                </a:lnTo>
                <a:lnTo>
                  <a:pt x="5389952" y="6445394"/>
                </a:lnTo>
                <a:lnTo>
                  <a:pt x="5389952" y="6425311"/>
                </a:lnTo>
                <a:close/>
                <a:moveTo>
                  <a:pt x="5103527" y="6425311"/>
                </a:moveTo>
                <a:lnTo>
                  <a:pt x="5023793" y="6598499"/>
                </a:lnTo>
                <a:lnTo>
                  <a:pt x="5045665" y="6598499"/>
                </a:lnTo>
                <a:lnTo>
                  <a:pt x="5110089" y="6453944"/>
                </a:lnTo>
                <a:lnTo>
                  <a:pt x="5115954" y="6453944"/>
                </a:lnTo>
                <a:lnTo>
                  <a:pt x="5149458" y="6527912"/>
                </a:lnTo>
                <a:lnTo>
                  <a:pt x="5097462" y="6527912"/>
                </a:lnTo>
                <a:lnTo>
                  <a:pt x="5089211" y="6546503"/>
                </a:lnTo>
                <a:lnTo>
                  <a:pt x="5157611" y="6546503"/>
                </a:lnTo>
                <a:lnTo>
                  <a:pt x="5180576" y="6598499"/>
                </a:lnTo>
                <a:lnTo>
                  <a:pt x="5203741" y="6598499"/>
                </a:lnTo>
                <a:lnTo>
                  <a:pt x="5124107" y="6425311"/>
                </a:lnTo>
                <a:close/>
                <a:moveTo>
                  <a:pt x="4850208" y="6410100"/>
                </a:moveTo>
                <a:lnTo>
                  <a:pt x="4852097" y="6412387"/>
                </a:lnTo>
                <a:lnTo>
                  <a:pt x="4694916" y="6546006"/>
                </a:lnTo>
                <a:lnTo>
                  <a:pt x="4741344" y="6669285"/>
                </a:lnTo>
                <a:cubicBezTo>
                  <a:pt x="4699091" y="6667396"/>
                  <a:pt x="4657634" y="6648606"/>
                  <a:pt x="4628206" y="6613909"/>
                </a:cubicBezTo>
                <a:cubicBezTo>
                  <a:pt x="4598678" y="6579212"/>
                  <a:pt x="4586847" y="6535368"/>
                  <a:pt x="4591719" y="6493314"/>
                </a:cubicBezTo>
                <a:lnTo>
                  <a:pt x="4676921" y="6536859"/>
                </a:lnTo>
                <a:lnTo>
                  <a:pt x="4690740" y="6525128"/>
                </a:lnTo>
                <a:lnTo>
                  <a:pt x="4604345" y="6480986"/>
                </a:lnTo>
                <a:cubicBezTo>
                  <a:pt x="4604544" y="6479594"/>
                  <a:pt x="4604544" y="6479495"/>
                  <a:pt x="4604743" y="6478103"/>
                </a:cubicBezTo>
                <a:close/>
                <a:moveTo>
                  <a:pt x="4749782" y="6353656"/>
                </a:moveTo>
                <a:cubicBezTo>
                  <a:pt x="4786430" y="6353979"/>
                  <a:pt x="4822818" y="6366953"/>
                  <a:pt x="4851798" y="6392006"/>
                </a:cubicBezTo>
                <a:lnTo>
                  <a:pt x="4598579" y="6462096"/>
                </a:lnTo>
                <a:cubicBezTo>
                  <a:pt x="4607328" y="6435353"/>
                  <a:pt x="4623334" y="6410697"/>
                  <a:pt x="4646200" y="6391211"/>
                </a:cubicBezTo>
                <a:cubicBezTo>
                  <a:pt x="4676224" y="6365660"/>
                  <a:pt x="4713134" y="6353332"/>
                  <a:pt x="4749782" y="6353656"/>
                </a:cubicBezTo>
                <a:close/>
                <a:moveTo>
                  <a:pt x="4762682" y="6337065"/>
                </a:moveTo>
                <a:cubicBezTo>
                  <a:pt x="4718030" y="6333449"/>
                  <a:pt x="4671999" y="6346870"/>
                  <a:pt x="4635165" y="6378187"/>
                </a:cubicBezTo>
                <a:cubicBezTo>
                  <a:pt x="4561496" y="6440821"/>
                  <a:pt x="4552548" y="6551275"/>
                  <a:pt x="4615182" y="6624944"/>
                </a:cubicBezTo>
                <a:cubicBezTo>
                  <a:pt x="4677816" y="6698614"/>
                  <a:pt x="4788270" y="6707561"/>
                  <a:pt x="4861939" y="6644927"/>
                </a:cubicBezTo>
                <a:cubicBezTo>
                  <a:pt x="4935608" y="6582294"/>
                  <a:pt x="4944556" y="6471839"/>
                  <a:pt x="4881922" y="6398170"/>
                </a:cubicBezTo>
                <a:cubicBezTo>
                  <a:pt x="4850605" y="6361336"/>
                  <a:pt x="4807333" y="6340681"/>
                  <a:pt x="4762682" y="633706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505"/>
                </a:lnTo>
                <a:lnTo>
                  <a:pt x="0" y="685750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pPr marL="7938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the icon to add picture</a:t>
            </a: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33F8D5F7-9812-554F-5697-0761DF69098B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765866" y="2533650"/>
            <a:ext cx="5065200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1DE64C5-6A5D-88F9-435F-F5F9572FA400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F2494B9E-672D-4BFA-897A-B01B72576FAD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7" name="Rektangel 17">
              <a:extLst>
                <a:ext uri="{FF2B5EF4-FFF2-40B4-BE49-F238E27FC236}">
                  <a16:creationId xmlns:a16="http://schemas.microsoft.com/office/drawing/2014/main" id="{D56E180A-1D8E-CB49-19A6-87C706D0154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E98EE241-F4E3-5AF3-3B9B-E3FEFF4557DD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1443424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B011B8F-A0AE-4E06-81D5-B6D2E75F9D2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10637474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202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CDBC642-BD0F-2042-A620-E6961CF2D71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5866" y="958738"/>
            <a:ext cx="10637474" cy="1081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B809106-7202-EF4B-A73F-A1A474C2119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A19440D-6D58-4087-81CA-B5B3543D175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36A936-8AE7-3843-8B39-9E7EC88C9CF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CA4F49E-B4CC-FC4F-8AEC-9C16ABAA164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BD29A29-5480-4821-B509-29FC9E6671D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766800" y="463594"/>
            <a:ext cx="5076788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subheading</a:t>
            </a:r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CD9D7151-D12F-9B0E-3F39-2298F103B2B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79526461-A360-F8EB-F1F2-ED34AEB8FA8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440468E5-249F-496C-6E25-200BAA39EB03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EE8315B1-929B-5F8C-A574-34C8D75AFC1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2F99DD11-82FE-F5A6-3C55-D768C6F7791E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25">
              <a:extLst>
                <a:ext uri="{FF2B5EF4-FFF2-40B4-BE49-F238E27FC236}">
                  <a16:creationId xmlns:a16="http://schemas.microsoft.com/office/drawing/2014/main" id="{47C1120A-8417-B9F6-9700-9DD8945E6E34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CD19E7A-A76D-9F8A-E3E6-28FC06E59F4C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7"/>
            </p:custDataLst>
          </p:nvPr>
        </p:nvSpPr>
        <p:spPr>
          <a:xfrm>
            <a:off x="765866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8797910B-7B73-B57C-E209-2E5961FB19F9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8"/>
            </p:custDataLst>
          </p:nvPr>
        </p:nvSpPr>
        <p:spPr>
          <a:xfrm>
            <a:off x="6344864" y="2533650"/>
            <a:ext cx="5077722" cy="3564000"/>
          </a:xfrm>
        </p:spPr>
        <p:txBody>
          <a:bodyPr/>
          <a:lstStyle>
            <a:lvl1pPr marL="7938" indent="0">
              <a:buNone/>
              <a:defRPr sz="1000"/>
            </a:lvl1pPr>
          </a:lstStyle>
          <a:p>
            <a:pPr lvl="0"/>
            <a:r>
              <a:rPr lang="en-GB"/>
              <a:t>Click on the icon to add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928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"/>
            </p:custDataLst>
          </p:nvPr>
        </p:nvSpPr>
        <p:spPr>
          <a:xfrm>
            <a:off x="381036" y="811146"/>
            <a:ext cx="2431668" cy="3411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2"/>
            </p:custDataLst>
          </p:nvPr>
        </p:nvSpPr>
        <p:spPr>
          <a:xfrm>
            <a:off x="6483696" y="811145"/>
            <a:ext cx="2410804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 hasCustomPrompt="1"/>
            <p:custDataLst>
              <p:tags r:id="rId3"/>
            </p:custDataLst>
          </p:nvPr>
        </p:nvSpPr>
        <p:spPr>
          <a:xfrm>
            <a:off x="3432498" y="4201259"/>
            <a:ext cx="2441070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 hasCustomPrompt="1"/>
            <p:custDataLst>
              <p:tags r:id="rId4"/>
            </p:custDataLst>
          </p:nvPr>
        </p:nvSpPr>
        <p:spPr>
          <a:xfrm>
            <a:off x="9528938" y="4201270"/>
            <a:ext cx="2351388" cy="32542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HEADLIN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3048000" y="0"/>
            <a:ext cx="3044498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6"/>
            </p:custDataLst>
          </p:nvPr>
        </p:nvSpPr>
        <p:spPr>
          <a:xfrm>
            <a:off x="9137318" y="0"/>
            <a:ext cx="3063147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>
          <a:xfrm>
            <a:off x="1" y="3429000"/>
            <a:ext cx="3043002" cy="3435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8"/>
            </p:custDataLst>
          </p:nvPr>
        </p:nvSpPr>
        <p:spPr>
          <a:xfrm>
            <a:off x="6096002" y="3429000"/>
            <a:ext cx="3040503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24" name="Platshållare för text 7">
            <a:extLst>
              <a:ext uri="{FF2B5EF4-FFF2-40B4-BE49-F238E27FC236}">
                <a16:creationId xmlns:a16="http://schemas.microsoft.com/office/drawing/2014/main" id="{1EA55394-10BD-904F-A822-C9A3D10EF29C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381035" y="13014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Platshållare för text 7">
            <a:extLst>
              <a:ext uri="{FF2B5EF4-FFF2-40B4-BE49-F238E27FC236}">
                <a16:creationId xmlns:a16="http://schemas.microsoft.com/office/drawing/2014/main" id="{A7ADE6D9-291C-4C49-9F63-6D517A19A1F4}"/>
              </a:ext>
            </a:extLst>
          </p:cNvPr>
          <p:cNvSpPr>
            <a:spLocks noGrp="1"/>
          </p:cNvSpPr>
          <p:nvPr>
            <p:ph type="body" sz="quarter" idx="35" hasCustomPrompt="1"/>
            <p:custDataLst>
              <p:tags r:id="rId10"/>
            </p:custDataLst>
          </p:nvPr>
        </p:nvSpPr>
        <p:spPr>
          <a:xfrm>
            <a:off x="6483696" y="13014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Platshållare för text 7">
            <a:extLst>
              <a:ext uri="{FF2B5EF4-FFF2-40B4-BE49-F238E27FC236}">
                <a16:creationId xmlns:a16="http://schemas.microsoft.com/office/drawing/2014/main" id="{FA5ABABD-4B68-8848-B399-8A43B300EF1C}"/>
              </a:ext>
            </a:extLst>
          </p:cNvPr>
          <p:cNvSpPr>
            <a:spLocks noGrp="1"/>
          </p:cNvSpPr>
          <p:nvPr>
            <p:ph type="body" sz="quarter" idx="36" hasCustomPrompt="1"/>
            <p:custDataLst>
              <p:tags r:id="rId11"/>
            </p:custDataLst>
          </p:nvPr>
        </p:nvSpPr>
        <p:spPr>
          <a:xfrm>
            <a:off x="3432498" y="4690825"/>
            <a:ext cx="2431669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Platshållare för text 7">
            <a:extLst>
              <a:ext uri="{FF2B5EF4-FFF2-40B4-BE49-F238E27FC236}">
                <a16:creationId xmlns:a16="http://schemas.microsoft.com/office/drawing/2014/main" id="{7A0BBE6A-261F-544F-BBE8-D10A9C33EE64}"/>
              </a:ext>
            </a:extLst>
          </p:cNvPr>
          <p:cNvSpPr>
            <a:spLocks noGrp="1"/>
          </p:cNvSpPr>
          <p:nvPr>
            <p:ph type="body" sz="quarter" idx="37" hasCustomPrompt="1"/>
            <p:custDataLst>
              <p:tags r:id="rId12"/>
            </p:custDataLst>
          </p:nvPr>
        </p:nvSpPr>
        <p:spPr>
          <a:xfrm>
            <a:off x="9528938" y="4690825"/>
            <a:ext cx="2410804" cy="1352550"/>
          </a:xfrm>
        </p:spPr>
        <p:txBody>
          <a:bodyPr/>
          <a:lstStyle>
            <a:lvl1pPr marL="268288" indent="-260350">
              <a:tabLst/>
              <a:defRPr sz="1200"/>
            </a:lvl1pPr>
            <a:lvl2pPr>
              <a:defRPr sz="1150"/>
            </a:lvl2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CF71E361-461E-7240-8619-093A4D836BB2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090EECE-8A21-44E1-AD60-DAA675CD75D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BBE7A37B-6A2A-704D-90A0-4047E943036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29F1A8E-A2D1-B342-AD83-88675D3A17A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upp 26">
            <a:extLst>
              <a:ext uri="{FF2B5EF4-FFF2-40B4-BE49-F238E27FC236}">
                <a16:creationId xmlns:a16="http://schemas.microsoft.com/office/drawing/2014/main" id="{6CE5D5B6-7563-3418-71B9-7E4021A028FB}"/>
              </a:ext>
            </a:extLst>
          </p:cNvPr>
          <p:cNvGrpSpPr/>
          <p:nvPr userDrawn="1">
            <p:custDataLst>
              <p:tags r:id="rId1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3" name="Frihandsfigur 13">
              <a:extLst>
                <a:ext uri="{FF2B5EF4-FFF2-40B4-BE49-F238E27FC236}">
                  <a16:creationId xmlns:a16="http://schemas.microsoft.com/office/drawing/2014/main" id="{6D644D48-0955-9DA7-5634-391C2AE0DBEB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" name="Frihandsfigur 14">
              <a:extLst>
                <a:ext uri="{FF2B5EF4-FFF2-40B4-BE49-F238E27FC236}">
                  <a16:creationId xmlns:a16="http://schemas.microsoft.com/office/drawing/2014/main" id="{076D920E-81BB-CA2E-C7EA-525A27FCB699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" name="Frihandsfigur 15">
              <a:extLst>
                <a:ext uri="{FF2B5EF4-FFF2-40B4-BE49-F238E27FC236}">
                  <a16:creationId xmlns:a16="http://schemas.microsoft.com/office/drawing/2014/main" id="{16272251-D10C-6AFB-4BE1-F5D9953EFC7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6">
              <a:extLst>
                <a:ext uri="{FF2B5EF4-FFF2-40B4-BE49-F238E27FC236}">
                  <a16:creationId xmlns:a16="http://schemas.microsoft.com/office/drawing/2014/main" id="{C629BD95-728C-5E2E-8DD3-13F103100278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25">
              <a:extLst>
                <a:ext uri="{FF2B5EF4-FFF2-40B4-BE49-F238E27FC236}">
                  <a16:creationId xmlns:a16="http://schemas.microsoft.com/office/drawing/2014/main" id="{14B088B9-85C2-8F39-FD7B-E1C839F450D1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419039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56DB9E-0BC1-96ED-10D0-E317EC4E3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0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6DB9E-0BC1-96ED-10D0-E317EC4E3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F47589-8FFA-BD49-82A0-7B42F336032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98C1A61-7AAC-1A41-8F66-84EA319A4C5A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AAEE483-D238-46AC-AE9C-C791F2837A3D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694653-5CCB-2A42-A94E-FD4B74221A9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206A96-67D6-724E-AC87-DE116D65845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9FB2C6-39F0-CF9A-E5AA-C97B8D7A2EC3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50B094A5-B3A7-6835-293E-1E659A5DF569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6" name="Rektangel 17">
              <a:extLst>
                <a:ext uri="{FF2B5EF4-FFF2-40B4-BE49-F238E27FC236}">
                  <a16:creationId xmlns:a16="http://schemas.microsoft.com/office/drawing/2014/main" id="{D2409361-383C-410F-C786-392F6F5CDB68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8" name="Rektangel 18">
              <a:extLst>
                <a:ext uri="{FF2B5EF4-FFF2-40B4-BE49-F238E27FC236}">
                  <a16:creationId xmlns:a16="http://schemas.microsoft.com/office/drawing/2014/main" id="{22BC24E0-3ED6-C70E-FD66-A2695691AAC0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850239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4CE1393-ABB2-4566-A73D-BC0D039563B7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9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0030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3">
            <a:extLst>
              <a:ext uri="{FF2B5EF4-FFF2-40B4-BE49-F238E27FC236}">
                <a16:creationId xmlns:a16="http://schemas.microsoft.com/office/drawing/2014/main" id="{8B28B442-351B-16F8-1C64-82C5070119A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068906B4-03CB-4B76-BD8B-00447FD47293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60178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 26">
            <a:extLst>
              <a:ext uri="{FF2B5EF4-FFF2-40B4-BE49-F238E27FC236}">
                <a16:creationId xmlns:a16="http://schemas.microsoft.com/office/drawing/2014/main" id="{53F216B2-A2D5-9D4F-A0F8-663C9DFBD783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671037" y="2315910"/>
            <a:ext cx="6849926" cy="1944902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4" name="Frihandsfigur 13">
              <a:extLst>
                <a:ext uri="{FF2B5EF4-FFF2-40B4-BE49-F238E27FC236}">
                  <a16:creationId xmlns:a16="http://schemas.microsoft.com/office/drawing/2014/main" id="{B5CEDDE6-6109-1847-B89F-271E45BBEE60}"/>
                </a:ext>
              </a:extLst>
            </p:cNvPr>
            <p:cNvSpPr/>
            <p:nvPr/>
          </p:nvSpPr>
          <p:spPr>
            <a:xfrm>
              <a:off x="6510020" y="2875915"/>
              <a:ext cx="857250" cy="1104900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ihandsfigur 14">
              <a:extLst>
                <a:ext uri="{FF2B5EF4-FFF2-40B4-BE49-F238E27FC236}">
                  <a16:creationId xmlns:a16="http://schemas.microsoft.com/office/drawing/2014/main" id="{368AFB05-DE1F-9848-B99C-F26275134CA0}"/>
                </a:ext>
              </a:extLst>
            </p:cNvPr>
            <p:cNvSpPr/>
            <p:nvPr/>
          </p:nvSpPr>
          <p:spPr>
            <a:xfrm>
              <a:off x="5033645" y="2875915"/>
              <a:ext cx="1149350" cy="1104900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ihandsfigur 15">
              <a:extLst>
                <a:ext uri="{FF2B5EF4-FFF2-40B4-BE49-F238E27FC236}">
                  <a16:creationId xmlns:a16="http://schemas.microsoft.com/office/drawing/2014/main" id="{1F91EE22-0FE4-F84E-89AD-4527D4554045}"/>
                </a:ext>
              </a:extLst>
            </p:cNvPr>
            <p:cNvSpPr/>
            <p:nvPr/>
          </p:nvSpPr>
          <p:spPr>
            <a:xfrm>
              <a:off x="7737475" y="2875915"/>
              <a:ext cx="1028700" cy="1104900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ihandsfigur 16">
              <a:extLst>
                <a:ext uri="{FF2B5EF4-FFF2-40B4-BE49-F238E27FC236}">
                  <a16:creationId xmlns:a16="http://schemas.microsoft.com/office/drawing/2014/main" id="{EF8E823A-9294-194B-922C-EFE1ACA8AD8C}"/>
                </a:ext>
              </a:extLst>
            </p:cNvPr>
            <p:cNvSpPr/>
            <p:nvPr/>
          </p:nvSpPr>
          <p:spPr>
            <a:xfrm>
              <a:off x="8982075" y="2875915"/>
              <a:ext cx="1047750" cy="1104900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ihandsfigur 25">
              <a:extLst>
                <a:ext uri="{FF2B5EF4-FFF2-40B4-BE49-F238E27FC236}">
                  <a16:creationId xmlns:a16="http://schemas.microsoft.com/office/drawing/2014/main" id="{423E017C-C25F-9043-8AA2-2B36883FE050}"/>
                </a:ext>
              </a:extLst>
            </p:cNvPr>
            <p:cNvSpPr/>
            <p:nvPr/>
          </p:nvSpPr>
          <p:spPr>
            <a:xfrm>
              <a:off x="2157473" y="2308603"/>
              <a:ext cx="2235200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754474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4">
            <a:extLst>
              <a:ext uri="{FF2B5EF4-FFF2-40B4-BE49-F238E27FC236}">
                <a16:creationId xmlns:a16="http://schemas.microsoft.com/office/drawing/2014/main" id="{99631A04-53F2-1370-DF70-E04D8502268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50434" y="-2650434"/>
            <a:ext cx="6904383" cy="12205251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bg1"/>
                </a:solidFill>
              </a:defRPr>
            </a:lvl1pPr>
          </a:lstStyle>
          <a:p>
            <a:fld id="{0DFCA27A-A7FA-4FF9-BF20-05C060964070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2" name="Grupp 26">
            <a:extLst>
              <a:ext uri="{FF2B5EF4-FFF2-40B4-BE49-F238E27FC236}">
                <a16:creationId xmlns:a16="http://schemas.microsoft.com/office/drawing/2014/main" id="{0DD5700A-1334-9FCD-8BD1-2733827215E7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  <a:solidFill>
            <a:schemeClr val="bg1"/>
          </a:solidFill>
        </p:grpSpPr>
        <p:sp>
          <p:nvSpPr>
            <p:cNvPr id="13" name="Frihandsfigur 13">
              <a:extLst>
                <a:ext uri="{FF2B5EF4-FFF2-40B4-BE49-F238E27FC236}">
                  <a16:creationId xmlns:a16="http://schemas.microsoft.com/office/drawing/2014/main" id="{4712DBAA-05DF-08E5-1653-52E729AC54C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ihandsfigur 14">
              <a:extLst>
                <a:ext uri="{FF2B5EF4-FFF2-40B4-BE49-F238E27FC236}">
                  <a16:creationId xmlns:a16="http://schemas.microsoft.com/office/drawing/2014/main" id="{EA9635C5-7A85-0769-0945-93DAA5B429D0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ihandsfigur 15">
              <a:extLst>
                <a:ext uri="{FF2B5EF4-FFF2-40B4-BE49-F238E27FC236}">
                  <a16:creationId xmlns:a16="http://schemas.microsoft.com/office/drawing/2014/main" id="{1D7EFE29-2FCE-A764-8096-FD5167B8FC55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ihandsfigur 16">
              <a:extLst>
                <a:ext uri="{FF2B5EF4-FFF2-40B4-BE49-F238E27FC236}">
                  <a16:creationId xmlns:a16="http://schemas.microsoft.com/office/drawing/2014/main" id="{C40C7AA8-3744-692A-9A07-25DE38DE802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ihandsfigur 25">
              <a:extLst>
                <a:ext uri="{FF2B5EF4-FFF2-40B4-BE49-F238E27FC236}">
                  <a16:creationId xmlns:a16="http://schemas.microsoft.com/office/drawing/2014/main" id="{C81B229D-F0CA-988F-A5C2-56D7FCEF8F1C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66799" y="1124519"/>
            <a:ext cx="5581613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>
                <a:solidFill>
                  <a:schemeClr val="bg1"/>
                </a:solidFill>
              </a:defRPr>
            </a:lvl1pPr>
            <a:lvl2pPr marL="7938" indent="0">
              <a:buNone/>
              <a:tabLst/>
              <a:defRPr sz="9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sp>
        <p:nvSpPr>
          <p:cNvPr id="19" name="textruta 5">
            <a:extLst>
              <a:ext uri="{FF2B5EF4-FFF2-40B4-BE49-F238E27FC236}">
                <a16:creationId xmlns:a16="http://schemas.microsoft.com/office/drawing/2014/main" id="{1DDF715C-298D-ED47-86E8-B68EF831D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118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A5897-4F7F-6930-298D-845FB9B5295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10566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1" name="Oval 4">
            <a:extLst>
              <a:ext uri="{FF2B5EF4-FFF2-40B4-BE49-F238E27FC236}">
                <a16:creationId xmlns:a16="http://schemas.microsoft.com/office/drawing/2014/main" id="{7867CB60-1D27-E716-5C29-A3F029EDA2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12799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8" name="Connector: Elbow 131">
            <a:extLst>
              <a:ext uri="{FF2B5EF4-FFF2-40B4-BE49-F238E27FC236}">
                <a16:creationId xmlns:a16="http://schemas.microsoft.com/office/drawing/2014/main" id="{1B7ED9DB-51EF-50AA-0963-D231D1A5E5DC}"/>
              </a:ext>
            </a:extLst>
          </p:cNvPr>
          <p:cNvCxnSpPr>
            <a:cxnSpLocks/>
            <a:endCxn id="11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9166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5876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0B7EAAA-4859-7C28-F2EE-93FB487E48A3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822ACC4-874B-6145-AD31-AD675BFDA9EE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EF98A0D-7614-451E-A6CA-20E1DC8E24A3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BD04DD9-82C2-3342-AD81-4C0411C414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E2D9D83-37E5-944B-9F99-2BC5D1C7491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C7014-942F-42E4-860B-A224F4BEA22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66799" y="1124519"/>
            <a:ext cx="5076789" cy="3208942"/>
          </a:xfrm>
        </p:spPr>
        <p:txBody>
          <a:bodyPr/>
          <a:lstStyle>
            <a:lvl1pPr marL="7938" indent="0">
              <a:lnSpc>
                <a:spcPct val="104000"/>
              </a:lnSpc>
              <a:buNone/>
              <a:defRPr sz="2200" spc="10" baseline="0"/>
            </a:lvl1pPr>
            <a:lvl2pPr marL="7938" indent="0">
              <a:buNone/>
              <a:tabLst/>
              <a:defRPr sz="900" cap="all" baseline="0"/>
            </a:lvl2pPr>
          </a:lstStyle>
          <a:p>
            <a:pPr lvl="0"/>
            <a:r>
              <a:rPr lang="en-GB"/>
              <a:t>Click to add a statement</a:t>
            </a:r>
          </a:p>
          <a:p>
            <a:pPr lvl="1"/>
            <a:r>
              <a:rPr lang="en-GB"/>
              <a:t>Second level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DA3B87-A9CE-21E3-CDAA-1A1098194200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7" name="textruta 5">
              <a:extLst>
                <a:ext uri="{FF2B5EF4-FFF2-40B4-BE49-F238E27FC236}">
                  <a16:creationId xmlns:a16="http://schemas.microsoft.com/office/drawing/2014/main" id="{B5F47A7D-9C42-8DE2-6453-C731DBD8282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8" name="Rektangel 17">
              <a:extLst>
                <a:ext uri="{FF2B5EF4-FFF2-40B4-BE49-F238E27FC236}">
                  <a16:creationId xmlns:a16="http://schemas.microsoft.com/office/drawing/2014/main" id="{9FCB9DAC-3B93-B872-8317-66D501546035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9" name="Rektangel 18">
              <a:extLst>
                <a:ext uri="{FF2B5EF4-FFF2-40B4-BE49-F238E27FC236}">
                  <a16:creationId xmlns:a16="http://schemas.microsoft.com/office/drawing/2014/main" id="{198BCA8E-0540-D3A0-B60F-B2CF4A991BD2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2" name="textruta 5">
            <a:extLst>
              <a:ext uri="{FF2B5EF4-FFF2-40B4-BE49-F238E27FC236}">
                <a16:creationId xmlns:a16="http://schemas.microsoft.com/office/drawing/2014/main" id="{4BDE0C52-436B-328B-AF03-503D1D7DE16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310246" y="2356673"/>
            <a:ext cx="2106398" cy="197678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0000" tIns="180000" rIns="180000" bIns="180000" rtlCol="0" anchor="t" anchorCtr="0">
            <a:noAutofit/>
          </a:bodyPr>
          <a:lstStyle/>
          <a:p>
            <a:pPr algn="l"/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To add the name of the author, press </a:t>
            </a:r>
            <a:r>
              <a:rPr lang="en-GB" sz="900" b="1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enter/return </a:t>
            </a:r>
            <a:r>
              <a:rPr lang="en-GB" sz="900" baseline="0" noProof="0">
                <a:solidFill>
                  <a:schemeClr val="tx1"/>
                </a:solidFill>
                <a:latin typeface="+mn-lt"/>
                <a:cs typeface="Verdana" panose="020B0604030504040204" pitchFamily="34" charset="0"/>
              </a:rPr>
              <a:t>after your text then use this toggle function to get the second level.</a:t>
            </a:r>
            <a:endParaRPr lang="en-GB" sz="900" baseline="0" noProof="0" dirty="0">
              <a:solidFill>
                <a:schemeClr val="tx1"/>
              </a:solidFill>
              <a:latin typeface="+mn-lt"/>
              <a:cs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8844C0-BDA8-4E82-A7DA-F9681AC15AF5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12490677" y="3401452"/>
            <a:ext cx="1422121" cy="721417"/>
          </a:xfrm>
          <a:prstGeom prst="rect">
            <a:avLst/>
          </a:prstGeom>
          <a:ln w="9525">
            <a:solidFill>
              <a:schemeClr val="tx2"/>
            </a:solidFill>
          </a:ln>
        </p:spPr>
      </p:pic>
      <p:sp>
        <p:nvSpPr>
          <p:cNvPr id="10" name="Oval 4">
            <a:extLst>
              <a:ext uri="{FF2B5EF4-FFF2-40B4-BE49-F238E27FC236}">
                <a16:creationId xmlns:a16="http://schemas.microsoft.com/office/drawing/2014/main" id="{4B420543-C815-B3AA-9674-665A26AC8A1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162327" y="3624749"/>
            <a:ext cx="282818" cy="282818"/>
          </a:xfrm>
          <a:prstGeom prst="ellipse">
            <a:avLst/>
          </a:prstGeom>
          <a:solidFill>
            <a:schemeClr val="bg1">
              <a:lumMod val="95000"/>
              <a:alpha val="4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cxnSp>
        <p:nvCxnSpPr>
          <p:cNvPr id="11" name="Connector: Elbow 131">
            <a:extLst>
              <a:ext uri="{FF2B5EF4-FFF2-40B4-BE49-F238E27FC236}">
                <a16:creationId xmlns:a16="http://schemas.microsoft.com/office/drawing/2014/main" id="{CE2F1DFB-6E61-F9C9-C4F3-737EB0FEAB2B}"/>
              </a:ext>
            </a:extLst>
          </p:cNvPr>
          <p:cNvCxnSpPr>
            <a:cxnSpLocks/>
            <a:endCxn id="10" idx="0"/>
          </p:cNvCxnSpPr>
          <p:nvPr userDrawn="1">
            <p:custDataLst>
              <p:tags r:id="rId10"/>
            </p:custDataLst>
          </p:nvPr>
        </p:nvCxnSpPr>
        <p:spPr>
          <a:xfrm rot="5400000">
            <a:off x="13205602" y="3261422"/>
            <a:ext cx="461462" cy="265193"/>
          </a:xfrm>
          <a:prstGeom prst="bentConnector3">
            <a:avLst>
              <a:gd name="adj1" fmla="val 72171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614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45FBBC17-14E0-A201-D0A6-DE21DADBDD9B}"/>
              </a:ext>
            </a:extLst>
          </p:cNvPr>
          <p:cNvSpPr>
            <a:spLocks noGrp="1"/>
          </p:cNvSpPr>
          <p:nvPr>
            <p:ph type="media" sz="quarter" idx="10" hasCustomPrompt="1"/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movie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74EE851-A65A-5845-98DB-82D2F563589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EFB9A728-200B-474D-8992-FC56893772C4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32BDB87-B84E-E442-8C43-EBFD32540D2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1B86582-5203-1842-83AA-0EFE7B2FA416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25822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4299"/>
            <a:ext cx="3382290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3382290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79490BF8-111F-4E6C-8BA2-9418D91C79A6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3" name="iPhone">
            <a:extLst>
              <a:ext uri="{FF2B5EF4-FFF2-40B4-BE49-F238E27FC236}">
                <a16:creationId xmlns:a16="http://schemas.microsoft.com/office/drawing/2014/main" id="{55C6D8D9-1E92-8C53-990E-49581900870E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1724" y="1254906"/>
            <a:ext cx="2331736" cy="4465027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FD8777D-84FC-4A51-2859-37876C2F60EF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8"/>
            </p:custDataLst>
          </p:nvPr>
        </p:nvSpPr>
        <p:spPr>
          <a:xfrm>
            <a:off x="4666127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0" name="iPhone">
            <a:extLst>
              <a:ext uri="{FF2B5EF4-FFF2-40B4-BE49-F238E27FC236}">
                <a16:creationId xmlns:a16="http://schemas.microsoft.com/office/drawing/2014/main" id="{49F6FFE0-DB27-831E-0DD1-0D3916DFBFF0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6107" y="1254906"/>
            <a:ext cx="2331736" cy="4465027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6403B3B-2653-DC4E-6BF2-B68D71FBC03E}"/>
              </a:ext>
            </a:extLst>
          </p:cNvPr>
          <p:cNvSpPr>
            <a:spLocks noGrp="1"/>
          </p:cNvSpPr>
          <p:nvPr>
            <p:ph type="pic" sz="quarter" idx="18" hasCustomPrompt="1"/>
            <p:custDataLst>
              <p:tags r:id="rId10"/>
            </p:custDataLst>
          </p:nvPr>
        </p:nvSpPr>
        <p:spPr>
          <a:xfrm>
            <a:off x="7036172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3" name="iPhone">
            <a:extLst>
              <a:ext uri="{FF2B5EF4-FFF2-40B4-BE49-F238E27FC236}">
                <a16:creationId xmlns:a16="http://schemas.microsoft.com/office/drawing/2014/main" id="{8F9340E6-8904-204D-4AFF-A4CC1C6D8DB6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6151" y="1254906"/>
            <a:ext cx="2331736" cy="4465027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D850DE8-C7B9-DF06-AC0D-2F3392DDA674}"/>
              </a:ext>
            </a:extLst>
          </p:cNvPr>
          <p:cNvSpPr>
            <a:spLocks noGrp="1"/>
          </p:cNvSpPr>
          <p:nvPr>
            <p:ph type="pic" sz="quarter" idx="19" hasCustomPrompt="1"/>
            <p:custDataLst>
              <p:tags r:id="rId12"/>
            </p:custDataLst>
          </p:nvPr>
        </p:nvSpPr>
        <p:spPr>
          <a:xfrm>
            <a:off x="9406216" y="1492623"/>
            <a:ext cx="1922931" cy="4034118"/>
          </a:xfrm>
          <a:custGeom>
            <a:avLst/>
            <a:gdLst>
              <a:gd name="connsiteX0" fmla="*/ 202177 w 1922931"/>
              <a:gd name="connsiteY0" fmla="*/ 0 h 4017981"/>
              <a:gd name="connsiteX1" fmla="*/ 1720754 w 1922931"/>
              <a:gd name="connsiteY1" fmla="*/ 0 h 4017981"/>
              <a:gd name="connsiteX2" fmla="*/ 1922931 w 1922931"/>
              <a:gd name="connsiteY2" fmla="*/ 202177 h 4017981"/>
              <a:gd name="connsiteX3" fmla="*/ 1922931 w 1922931"/>
              <a:gd name="connsiteY3" fmla="*/ 3815804 h 4017981"/>
              <a:gd name="connsiteX4" fmla="*/ 1720754 w 1922931"/>
              <a:gd name="connsiteY4" fmla="*/ 4017981 h 4017981"/>
              <a:gd name="connsiteX5" fmla="*/ 202177 w 1922931"/>
              <a:gd name="connsiteY5" fmla="*/ 4017981 h 4017981"/>
              <a:gd name="connsiteX6" fmla="*/ 0 w 1922931"/>
              <a:gd name="connsiteY6" fmla="*/ 3815804 h 4017981"/>
              <a:gd name="connsiteX7" fmla="*/ 0 w 1922931"/>
              <a:gd name="connsiteY7" fmla="*/ 202177 h 4017981"/>
              <a:gd name="connsiteX8" fmla="*/ 202177 w 1922931"/>
              <a:gd name="connsiteY8" fmla="*/ 0 h 401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2931" h="4017981">
                <a:moveTo>
                  <a:pt x="202177" y="0"/>
                </a:moveTo>
                <a:lnTo>
                  <a:pt x="1720754" y="0"/>
                </a:lnTo>
                <a:cubicBezTo>
                  <a:pt x="1832413" y="0"/>
                  <a:pt x="1922931" y="90518"/>
                  <a:pt x="1922931" y="202177"/>
                </a:cubicBezTo>
                <a:lnTo>
                  <a:pt x="1922931" y="3815804"/>
                </a:lnTo>
                <a:cubicBezTo>
                  <a:pt x="1922931" y="3927463"/>
                  <a:pt x="1832413" y="4017981"/>
                  <a:pt x="1720754" y="4017981"/>
                </a:cubicBezTo>
                <a:lnTo>
                  <a:pt x="202177" y="4017981"/>
                </a:lnTo>
                <a:cubicBezTo>
                  <a:pt x="90518" y="4017981"/>
                  <a:pt x="0" y="3927463"/>
                  <a:pt x="0" y="3815804"/>
                </a:cubicBezTo>
                <a:lnTo>
                  <a:pt x="0" y="202177"/>
                </a:lnTo>
                <a:cubicBezTo>
                  <a:pt x="0" y="90518"/>
                  <a:pt x="90518" y="0"/>
                  <a:pt x="202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72000">
            <a:noAutofit/>
          </a:bodyPr>
          <a:lstStyle>
            <a:lvl1pPr marL="7938" indent="0" algn="ctr">
              <a:buNone/>
              <a:defRPr sz="8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pic>
        <p:nvPicPr>
          <p:cNvPr id="27" name="Picture 26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2DFD70CD-8993-60DE-7C47-0BB2E52690C8}"/>
              </a:ext>
            </a:extLst>
          </p:cNvPr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9772" y="4924426"/>
            <a:ext cx="2475641" cy="1327472"/>
          </a:xfrm>
          <a:prstGeom prst="rect">
            <a:avLst/>
          </a:prstGeom>
        </p:spPr>
      </p:pic>
      <p:pic>
        <p:nvPicPr>
          <p:cNvPr id="28" name="Picture 2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EB9C0A30-13C4-144C-F9E3-5937D0E22CDF}"/>
              </a:ext>
            </a:extLst>
          </p:cNvPr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6774154" y="4924426"/>
            <a:ext cx="2475641" cy="1327472"/>
          </a:xfrm>
          <a:prstGeom prst="rect">
            <a:avLst/>
          </a:prstGeom>
        </p:spPr>
      </p:pic>
      <p:pic>
        <p:nvPicPr>
          <p:cNvPr id="29" name="Picture 28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B624C9C2-D4D1-21EA-3B8C-090F4216986A}"/>
              </a:ext>
            </a:extLst>
          </p:cNvPr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9132253" y="4924426"/>
            <a:ext cx="2475641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72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ph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66800" y="1386000"/>
            <a:ext cx="5076788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66800" y="3773448"/>
            <a:ext cx="5076788" cy="1827251"/>
          </a:xfrm>
        </p:spPr>
        <p:txBody>
          <a:bodyPr anchor="t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53117BA0-B059-44A8-8240-AC08FF93307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0D27CE57-E325-A871-A49A-71B704BE0D45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4202" y="1148453"/>
            <a:ext cx="3620287" cy="4715656"/>
          </a:xfrm>
          <a:prstGeom prst="rect">
            <a:avLst/>
          </a:prstGeom>
        </p:spPr>
      </p:pic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71F2DA8-345C-68F2-622A-3477CB0E5967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8"/>
            </p:custDataLst>
          </p:nvPr>
        </p:nvSpPr>
        <p:spPr>
          <a:xfrm>
            <a:off x="8481193" y="1508657"/>
            <a:ext cx="1843907" cy="4006803"/>
          </a:xfrm>
          <a:custGeom>
            <a:avLst/>
            <a:gdLst>
              <a:gd name="connsiteX0" fmla="*/ 1487403 w 1882066"/>
              <a:gd name="connsiteY0" fmla="*/ 93 h 4058464"/>
              <a:gd name="connsiteX1" fmla="*/ 1492275 w 1882066"/>
              <a:gd name="connsiteY1" fmla="*/ 101 h 4058464"/>
              <a:gd name="connsiteX2" fmla="*/ 1694966 w 1882066"/>
              <a:gd name="connsiteY2" fmla="*/ 101 h 4058464"/>
              <a:gd name="connsiteX3" fmla="*/ 1882066 w 1882066"/>
              <a:gd name="connsiteY3" fmla="*/ 187201 h 4058464"/>
              <a:gd name="connsiteX4" fmla="*/ 1882066 w 1882066"/>
              <a:gd name="connsiteY4" fmla="*/ 3871365 h 4058464"/>
              <a:gd name="connsiteX5" fmla="*/ 1694966 w 1882066"/>
              <a:gd name="connsiteY5" fmla="*/ 4058464 h 4058464"/>
              <a:gd name="connsiteX6" fmla="*/ 187100 w 1882066"/>
              <a:gd name="connsiteY6" fmla="*/ 4058464 h 4058464"/>
              <a:gd name="connsiteX7" fmla="*/ 0 w 1882066"/>
              <a:gd name="connsiteY7" fmla="*/ 3871365 h 4058464"/>
              <a:gd name="connsiteX8" fmla="*/ 0 w 1882066"/>
              <a:gd name="connsiteY8" fmla="*/ 187201 h 4058464"/>
              <a:gd name="connsiteX9" fmla="*/ 187100 w 1882066"/>
              <a:gd name="connsiteY9" fmla="*/ 101 h 4058464"/>
              <a:gd name="connsiteX10" fmla="*/ 392307 w 1882066"/>
              <a:gd name="connsiteY10" fmla="*/ 1106 h 4058464"/>
              <a:gd name="connsiteX11" fmla="*/ 423490 w 1882066"/>
              <a:gd name="connsiteY11" fmla="*/ 32290 h 4058464"/>
              <a:gd name="connsiteX12" fmla="*/ 511005 w 1882066"/>
              <a:gd name="connsiteY12" fmla="*/ 145454 h 4058464"/>
              <a:gd name="connsiteX13" fmla="*/ 1373577 w 1882066"/>
              <a:gd name="connsiteY13" fmla="*/ 144449 h 4058464"/>
              <a:gd name="connsiteX14" fmla="*/ 1461092 w 1882066"/>
              <a:gd name="connsiteY14" fmla="*/ 31284 h 4058464"/>
              <a:gd name="connsiteX15" fmla="*/ 1487403 w 1882066"/>
              <a:gd name="connsiteY15" fmla="*/ 93 h 405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882066" h="4058464">
                <a:moveTo>
                  <a:pt x="1487403" y="93"/>
                </a:moveTo>
                <a:cubicBezTo>
                  <a:pt x="1490326" y="-119"/>
                  <a:pt x="1492275" y="101"/>
                  <a:pt x="1492275" y="101"/>
                </a:cubicBezTo>
                <a:lnTo>
                  <a:pt x="1694966" y="101"/>
                </a:lnTo>
                <a:cubicBezTo>
                  <a:pt x="1797570" y="101"/>
                  <a:pt x="1882066" y="84094"/>
                  <a:pt x="1882066" y="187201"/>
                </a:cubicBezTo>
                <a:lnTo>
                  <a:pt x="1882066" y="3871365"/>
                </a:lnTo>
                <a:cubicBezTo>
                  <a:pt x="1882066" y="3973967"/>
                  <a:pt x="1798073" y="4058464"/>
                  <a:pt x="1694966" y="4058464"/>
                </a:cubicBezTo>
                <a:lnTo>
                  <a:pt x="187100" y="4058464"/>
                </a:lnTo>
                <a:cubicBezTo>
                  <a:pt x="84496" y="4058464"/>
                  <a:pt x="0" y="3974470"/>
                  <a:pt x="0" y="3871365"/>
                </a:cubicBezTo>
                <a:lnTo>
                  <a:pt x="0" y="187201"/>
                </a:lnTo>
                <a:cubicBezTo>
                  <a:pt x="0" y="84597"/>
                  <a:pt x="83994" y="101"/>
                  <a:pt x="187100" y="101"/>
                </a:cubicBezTo>
                <a:lnTo>
                  <a:pt x="392307" y="1106"/>
                </a:lnTo>
                <a:cubicBezTo>
                  <a:pt x="392307" y="1106"/>
                  <a:pt x="423490" y="-402"/>
                  <a:pt x="423490" y="32290"/>
                </a:cubicBezTo>
                <a:cubicBezTo>
                  <a:pt x="423490" y="66994"/>
                  <a:pt x="435562" y="146461"/>
                  <a:pt x="511005" y="145454"/>
                </a:cubicBezTo>
                <a:cubicBezTo>
                  <a:pt x="576389" y="144449"/>
                  <a:pt x="1308695" y="143443"/>
                  <a:pt x="1373577" y="144449"/>
                </a:cubicBezTo>
                <a:cubicBezTo>
                  <a:pt x="1448517" y="144952"/>
                  <a:pt x="1461092" y="65484"/>
                  <a:pt x="1461092" y="31284"/>
                </a:cubicBezTo>
                <a:cubicBezTo>
                  <a:pt x="1461092" y="5256"/>
                  <a:pt x="1478632" y="729"/>
                  <a:pt x="1487403" y="9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16000" anchor="t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828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CEFAC24-1182-5CFE-DCC1-7E15C134C3DB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588" y="1235955"/>
            <a:ext cx="7908303" cy="4507223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3C897A2-462E-F85B-A702-CF3382B23052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2"/>
            </p:custDataLst>
          </p:nvPr>
        </p:nvSpPr>
        <p:spPr>
          <a:xfrm>
            <a:off x="1688658" y="1434586"/>
            <a:ext cx="6045605" cy="389941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938" indent="0">
              <a:buNone/>
              <a:defRPr sz="1000"/>
            </a:lvl1pPr>
          </a:lstStyle>
          <a:p>
            <a:r>
              <a:rPr lang="en-GB"/>
              <a:t>Click on the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8639175" y="1384299"/>
            <a:ext cx="2776436" cy="210312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add a headline</a:t>
            </a:r>
          </a:p>
        </p:txBody>
      </p:sp>
      <p:sp>
        <p:nvSpPr>
          <p:cNvPr id="15" name="Platshållare för text 17">
            <a:extLst>
              <a:ext uri="{FF2B5EF4-FFF2-40B4-BE49-F238E27FC236}">
                <a16:creationId xmlns:a16="http://schemas.microsoft.com/office/drawing/2014/main" id="{58660B62-A327-4F4A-82E4-B728AA5C0915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8639175" y="3773448"/>
            <a:ext cx="2776436" cy="1450733"/>
          </a:xfrm>
        </p:spPr>
        <p:txBody>
          <a:bodyPr anchor="b"/>
          <a:lstStyle/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4F4BDF3-3479-7543-9E43-FA8860D52C07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5E27F53-3EFD-4DD7-A563-9A87180FABD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42ABA6C-6E21-0D45-9A7B-9F157A7230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49440E5-64BC-9543-80BE-6D865288268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50F7E768-BD89-D975-7660-54F9CBE574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5" name="Frihandsfigur 13">
              <a:extLst>
                <a:ext uri="{FF2B5EF4-FFF2-40B4-BE49-F238E27FC236}">
                  <a16:creationId xmlns:a16="http://schemas.microsoft.com/office/drawing/2014/main" id="{B331DC06-4F91-21BE-30D5-EB2AD236D0B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" name="Frihandsfigur 14">
              <a:extLst>
                <a:ext uri="{FF2B5EF4-FFF2-40B4-BE49-F238E27FC236}">
                  <a16:creationId xmlns:a16="http://schemas.microsoft.com/office/drawing/2014/main" id="{8308247E-F722-A930-1390-94616C0A5AE1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" name="Frihandsfigur 15">
              <a:extLst>
                <a:ext uri="{FF2B5EF4-FFF2-40B4-BE49-F238E27FC236}">
                  <a16:creationId xmlns:a16="http://schemas.microsoft.com/office/drawing/2014/main" id="{E5AFD904-ADD4-D3EE-2199-47D1BFE9E9A8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6">
              <a:extLst>
                <a:ext uri="{FF2B5EF4-FFF2-40B4-BE49-F238E27FC236}">
                  <a16:creationId xmlns:a16="http://schemas.microsoft.com/office/drawing/2014/main" id="{B92A5071-E592-2616-4DF8-599809B94C2B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25">
              <a:extLst>
                <a:ext uri="{FF2B5EF4-FFF2-40B4-BE49-F238E27FC236}">
                  <a16:creationId xmlns:a16="http://schemas.microsoft.com/office/drawing/2014/main" id="{28D5FAE7-4396-E214-9C62-4F6FB10F601E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8" name="Picture 17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7D3C740B-0268-5DAC-D53F-59B9A1D98E26}"/>
              </a:ext>
            </a:extLst>
          </p:cNvPr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-174143" y="5060014"/>
            <a:ext cx="9783764" cy="132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366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king Future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684A47F-E08B-83A5-5EDE-97D876EF17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77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4A47F-E08B-83A5-5EDE-97D876EF1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7AC57-070C-4861-DE0E-6093D55FEBBE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4184446 w 12191999"/>
              <a:gd name="connsiteY84" fmla="*/ 3402784 h 6857999"/>
              <a:gd name="connsiteX85" fmla="*/ 4317239 w 12191999"/>
              <a:gd name="connsiteY85" fmla="*/ 3473393 h 6857999"/>
              <a:gd name="connsiteX86" fmla="*/ 4317239 w 12191999"/>
              <a:gd name="connsiteY86" fmla="*/ 3640656 h 6857999"/>
              <a:gd name="connsiteX87" fmla="*/ 4184446 w 12191999"/>
              <a:gd name="connsiteY87" fmla="*/ 3711265 h 6857999"/>
              <a:gd name="connsiteX88" fmla="*/ 4076860 w 12191999"/>
              <a:gd name="connsiteY88" fmla="*/ 3665864 h 6857999"/>
              <a:gd name="connsiteX89" fmla="*/ 4033965 w 12191999"/>
              <a:gd name="connsiteY89" fmla="*/ 3556607 h 6857999"/>
              <a:gd name="connsiteX90" fmla="*/ 4076860 w 12191999"/>
              <a:gd name="connsiteY90" fmla="*/ 3448186 h 6857999"/>
              <a:gd name="connsiteX91" fmla="*/ 4184446 w 12191999"/>
              <a:gd name="connsiteY91" fmla="*/ 3402784 h 6857999"/>
              <a:gd name="connsiteX92" fmla="*/ 8710844 w 12191999"/>
              <a:gd name="connsiteY92" fmla="*/ 3401948 h 6857999"/>
              <a:gd name="connsiteX93" fmla="*/ 8843637 w 12191999"/>
              <a:gd name="connsiteY93" fmla="*/ 3534742 h 6857999"/>
              <a:gd name="connsiteX94" fmla="*/ 8568789 w 12191999"/>
              <a:gd name="connsiteY94" fmla="*/ 3534742 h 6857999"/>
              <a:gd name="connsiteX95" fmla="*/ 8613355 w 12191999"/>
              <a:gd name="connsiteY95" fmla="*/ 3439760 h 6857999"/>
              <a:gd name="connsiteX96" fmla="*/ 8710844 w 12191999"/>
              <a:gd name="connsiteY96" fmla="*/ 3401948 h 6857999"/>
              <a:gd name="connsiteX97" fmla="*/ 5848995 w 12191999"/>
              <a:gd name="connsiteY97" fmla="*/ 3399372 h 6857999"/>
              <a:gd name="connsiteX98" fmla="*/ 5987707 w 12191999"/>
              <a:gd name="connsiteY98" fmla="*/ 3472488 h 6857999"/>
              <a:gd name="connsiteX99" fmla="*/ 5987707 w 12191999"/>
              <a:gd name="connsiteY99" fmla="*/ 3627147 h 6857999"/>
              <a:gd name="connsiteX100" fmla="*/ 5848995 w 12191999"/>
              <a:gd name="connsiteY100" fmla="*/ 3700263 h 6857999"/>
              <a:gd name="connsiteX101" fmla="*/ 5848995 w 12191999"/>
              <a:gd name="connsiteY101" fmla="*/ 3700333 h 6857999"/>
              <a:gd name="connsiteX102" fmla="*/ 5744751 w 12191999"/>
              <a:gd name="connsiteY102" fmla="*/ 3656602 h 6857999"/>
              <a:gd name="connsiteX103" fmla="*/ 5703597 w 12191999"/>
              <a:gd name="connsiteY103" fmla="*/ 3551523 h 6857999"/>
              <a:gd name="connsiteX104" fmla="*/ 5744751 w 12191999"/>
              <a:gd name="connsiteY104" fmla="*/ 3443102 h 6857999"/>
              <a:gd name="connsiteX105" fmla="*/ 5848995 w 12191999"/>
              <a:gd name="connsiteY105" fmla="*/ 3399372 h 6857999"/>
              <a:gd name="connsiteX106" fmla="*/ 7758519 w 12191999"/>
              <a:gd name="connsiteY106" fmla="*/ 3362396 h 6857999"/>
              <a:gd name="connsiteX107" fmla="*/ 7758519 w 12191999"/>
              <a:gd name="connsiteY107" fmla="*/ 3586828 h 6857999"/>
              <a:gd name="connsiteX108" fmla="*/ 7803921 w 12191999"/>
              <a:gd name="connsiteY108" fmla="*/ 3715444 h 6857999"/>
              <a:gd name="connsiteX109" fmla="*/ 7924111 w 12191999"/>
              <a:gd name="connsiteY109" fmla="*/ 3763352 h 6857999"/>
              <a:gd name="connsiteX110" fmla="*/ 8067001 w 12191999"/>
              <a:gd name="connsiteY110" fmla="*/ 3705347 h 6857999"/>
              <a:gd name="connsiteX111" fmla="*/ 8067001 w 12191999"/>
              <a:gd name="connsiteY111" fmla="*/ 3750748 h 6857999"/>
              <a:gd name="connsiteX112" fmla="*/ 8124171 w 12191999"/>
              <a:gd name="connsiteY112" fmla="*/ 3750748 h 6857999"/>
              <a:gd name="connsiteX113" fmla="*/ 8124171 w 12191999"/>
              <a:gd name="connsiteY113" fmla="*/ 3362465 h 6857999"/>
              <a:gd name="connsiteX114" fmla="*/ 8067001 w 12191999"/>
              <a:gd name="connsiteY114" fmla="*/ 3362465 h 6857999"/>
              <a:gd name="connsiteX115" fmla="*/ 8067001 w 12191999"/>
              <a:gd name="connsiteY115" fmla="*/ 3638985 h 6857999"/>
              <a:gd name="connsiteX116" fmla="*/ 7934207 w 12191999"/>
              <a:gd name="connsiteY116" fmla="*/ 3711265 h 6857999"/>
              <a:gd name="connsiteX117" fmla="*/ 7815689 w 12191999"/>
              <a:gd name="connsiteY117" fmla="*/ 3583486 h 6857999"/>
              <a:gd name="connsiteX118" fmla="*/ 7815689 w 12191999"/>
              <a:gd name="connsiteY118" fmla="*/ 3362396 h 6857999"/>
              <a:gd name="connsiteX119" fmla="*/ 6897276 w 12191999"/>
              <a:gd name="connsiteY119" fmla="*/ 3362396 h 6857999"/>
              <a:gd name="connsiteX120" fmla="*/ 6897276 w 12191999"/>
              <a:gd name="connsiteY120" fmla="*/ 3586828 h 6857999"/>
              <a:gd name="connsiteX121" fmla="*/ 6942678 w 12191999"/>
              <a:gd name="connsiteY121" fmla="*/ 3715444 h 6857999"/>
              <a:gd name="connsiteX122" fmla="*/ 7062868 w 12191999"/>
              <a:gd name="connsiteY122" fmla="*/ 3763352 h 6857999"/>
              <a:gd name="connsiteX123" fmla="*/ 7205758 w 12191999"/>
              <a:gd name="connsiteY123" fmla="*/ 3705347 h 6857999"/>
              <a:gd name="connsiteX124" fmla="*/ 7205758 w 12191999"/>
              <a:gd name="connsiteY124" fmla="*/ 3750748 h 6857999"/>
              <a:gd name="connsiteX125" fmla="*/ 7262928 w 12191999"/>
              <a:gd name="connsiteY125" fmla="*/ 3750748 h 6857999"/>
              <a:gd name="connsiteX126" fmla="*/ 7262928 w 12191999"/>
              <a:gd name="connsiteY126" fmla="*/ 3362465 h 6857999"/>
              <a:gd name="connsiteX127" fmla="*/ 7205758 w 12191999"/>
              <a:gd name="connsiteY127" fmla="*/ 3362465 h 6857999"/>
              <a:gd name="connsiteX128" fmla="*/ 7205758 w 12191999"/>
              <a:gd name="connsiteY128" fmla="*/ 3638985 h 6857999"/>
              <a:gd name="connsiteX129" fmla="*/ 7072965 w 12191999"/>
              <a:gd name="connsiteY129" fmla="*/ 3711265 h 6857999"/>
              <a:gd name="connsiteX130" fmla="*/ 6954446 w 12191999"/>
              <a:gd name="connsiteY130" fmla="*/ 3583486 h 6857999"/>
              <a:gd name="connsiteX131" fmla="*/ 6954446 w 12191999"/>
              <a:gd name="connsiteY131" fmla="*/ 3362396 h 6857999"/>
              <a:gd name="connsiteX132" fmla="*/ 4973964 w 12191999"/>
              <a:gd name="connsiteY132" fmla="*/ 3362396 h 6857999"/>
              <a:gd name="connsiteX133" fmla="*/ 4973964 w 12191999"/>
              <a:gd name="connsiteY133" fmla="*/ 3750748 h 6857999"/>
              <a:gd name="connsiteX134" fmla="*/ 5031970 w 12191999"/>
              <a:gd name="connsiteY134" fmla="*/ 3750748 h 6857999"/>
              <a:gd name="connsiteX135" fmla="*/ 5031970 w 12191999"/>
              <a:gd name="connsiteY135" fmla="*/ 3362396 h 6857999"/>
              <a:gd name="connsiteX136" fmla="*/ 4176855 w 12191999"/>
              <a:gd name="connsiteY136" fmla="*/ 3352438 h 6857999"/>
              <a:gd name="connsiteX137" fmla="*/ 4034800 w 12191999"/>
              <a:gd name="connsiteY137" fmla="*/ 3412115 h 6857999"/>
              <a:gd name="connsiteX138" fmla="*/ 3975959 w 12191999"/>
              <a:gd name="connsiteY138" fmla="*/ 3556676 h 6857999"/>
              <a:gd name="connsiteX139" fmla="*/ 4034800 w 12191999"/>
              <a:gd name="connsiteY139" fmla="*/ 3702074 h 6857999"/>
              <a:gd name="connsiteX140" fmla="*/ 4176855 w 12191999"/>
              <a:gd name="connsiteY140" fmla="*/ 3761751 h 6857999"/>
              <a:gd name="connsiteX141" fmla="*/ 4317239 w 12191999"/>
              <a:gd name="connsiteY141" fmla="*/ 3707923 h 6857999"/>
              <a:gd name="connsiteX142" fmla="*/ 4317239 w 12191999"/>
              <a:gd name="connsiteY142" fmla="*/ 3750818 h 6857999"/>
              <a:gd name="connsiteX143" fmla="*/ 4375245 w 12191999"/>
              <a:gd name="connsiteY143" fmla="*/ 3750818 h 6857999"/>
              <a:gd name="connsiteX144" fmla="*/ 4375245 w 12191999"/>
              <a:gd name="connsiteY144" fmla="*/ 3362465 h 6857999"/>
              <a:gd name="connsiteX145" fmla="*/ 4317239 w 12191999"/>
              <a:gd name="connsiteY145" fmla="*/ 3362465 h 6857999"/>
              <a:gd name="connsiteX146" fmla="*/ 4317239 w 12191999"/>
              <a:gd name="connsiteY146" fmla="*/ 3406196 h 6857999"/>
              <a:gd name="connsiteX147" fmla="*/ 4176855 w 12191999"/>
              <a:gd name="connsiteY147" fmla="*/ 3352438 h 6857999"/>
              <a:gd name="connsiteX148" fmla="*/ 8712585 w 12191999"/>
              <a:gd name="connsiteY148" fmla="*/ 3352368 h 6857999"/>
              <a:gd name="connsiteX149" fmla="*/ 8567187 w 12191999"/>
              <a:gd name="connsiteY149" fmla="*/ 3411210 h 6857999"/>
              <a:gd name="connsiteX150" fmla="*/ 8510853 w 12191999"/>
              <a:gd name="connsiteY150" fmla="*/ 3556607 h 6857999"/>
              <a:gd name="connsiteX151" fmla="*/ 8567187 w 12191999"/>
              <a:gd name="connsiteY151" fmla="*/ 3702840 h 6857999"/>
              <a:gd name="connsiteX152" fmla="*/ 8712585 w 12191999"/>
              <a:gd name="connsiteY152" fmla="*/ 3761681 h 6857999"/>
              <a:gd name="connsiteX153" fmla="*/ 8889109 w 12191999"/>
              <a:gd name="connsiteY153" fmla="*/ 3652424 h 6857999"/>
              <a:gd name="connsiteX154" fmla="*/ 8826925 w 12191999"/>
              <a:gd name="connsiteY154" fmla="*/ 3652424 h 6857999"/>
              <a:gd name="connsiteX155" fmla="*/ 8714256 w 12191999"/>
              <a:gd name="connsiteY155" fmla="*/ 3712101 h 6857999"/>
              <a:gd name="connsiteX156" fmla="*/ 8568858 w 12191999"/>
              <a:gd name="connsiteY156" fmla="*/ 3579308 h 6857999"/>
              <a:gd name="connsiteX157" fmla="*/ 8897465 w 12191999"/>
              <a:gd name="connsiteY157" fmla="*/ 3579308 h 6857999"/>
              <a:gd name="connsiteX158" fmla="*/ 8897465 w 12191999"/>
              <a:gd name="connsiteY158" fmla="*/ 3577637 h 6857999"/>
              <a:gd name="connsiteX159" fmla="*/ 8900808 w 12191999"/>
              <a:gd name="connsiteY159" fmla="*/ 3579308 h 6857999"/>
              <a:gd name="connsiteX160" fmla="*/ 8901643 w 12191999"/>
              <a:gd name="connsiteY160" fmla="*/ 3554936 h 6857999"/>
              <a:gd name="connsiteX161" fmla="*/ 8847885 w 12191999"/>
              <a:gd name="connsiteY161" fmla="*/ 3409538 h 6857999"/>
              <a:gd name="connsiteX162" fmla="*/ 8712585 w 12191999"/>
              <a:gd name="connsiteY162" fmla="*/ 3352368 h 6857999"/>
              <a:gd name="connsiteX163" fmla="*/ 8465451 w 12191999"/>
              <a:gd name="connsiteY163" fmla="*/ 3352368 h 6857999"/>
              <a:gd name="connsiteX164" fmla="*/ 8313299 w 12191999"/>
              <a:gd name="connsiteY164" fmla="*/ 3429663 h 6857999"/>
              <a:gd name="connsiteX165" fmla="*/ 8313299 w 12191999"/>
              <a:gd name="connsiteY165" fmla="*/ 3362465 h 6857999"/>
              <a:gd name="connsiteX166" fmla="*/ 8256129 w 12191999"/>
              <a:gd name="connsiteY166" fmla="*/ 3362465 h 6857999"/>
              <a:gd name="connsiteX167" fmla="*/ 8256129 w 12191999"/>
              <a:gd name="connsiteY167" fmla="*/ 3750818 h 6857999"/>
              <a:gd name="connsiteX168" fmla="*/ 8313299 w 12191999"/>
              <a:gd name="connsiteY168" fmla="*/ 3750818 h 6857999"/>
              <a:gd name="connsiteX169" fmla="*/ 8313299 w 12191999"/>
              <a:gd name="connsiteY169" fmla="*/ 3497000 h 6857999"/>
              <a:gd name="connsiteX170" fmla="*/ 8465451 w 12191999"/>
              <a:gd name="connsiteY170" fmla="*/ 3407031 h 6857999"/>
              <a:gd name="connsiteX171" fmla="*/ 5379169 w 12191999"/>
              <a:gd name="connsiteY171" fmla="*/ 3349722 h 6857999"/>
              <a:gd name="connsiteX172" fmla="*/ 5235444 w 12191999"/>
              <a:gd name="connsiteY172" fmla="*/ 3408563 h 6857999"/>
              <a:gd name="connsiteX173" fmla="*/ 5235444 w 12191999"/>
              <a:gd name="connsiteY173" fmla="*/ 3362326 h 6857999"/>
              <a:gd name="connsiteX174" fmla="*/ 5178274 w 12191999"/>
              <a:gd name="connsiteY174" fmla="*/ 3362326 h 6857999"/>
              <a:gd name="connsiteX175" fmla="*/ 5178274 w 12191999"/>
              <a:gd name="connsiteY175" fmla="*/ 3750679 h 6857999"/>
              <a:gd name="connsiteX176" fmla="*/ 5235444 w 12191999"/>
              <a:gd name="connsiteY176" fmla="*/ 3750679 h 6857999"/>
              <a:gd name="connsiteX177" fmla="*/ 5235444 w 12191999"/>
              <a:gd name="connsiteY177" fmla="*/ 3474995 h 6857999"/>
              <a:gd name="connsiteX178" fmla="*/ 5369073 w 12191999"/>
              <a:gd name="connsiteY178" fmla="*/ 3402714 h 6857999"/>
              <a:gd name="connsiteX179" fmla="*/ 5486755 w 12191999"/>
              <a:gd name="connsiteY179" fmla="*/ 3529658 h 6857999"/>
              <a:gd name="connsiteX180" fmla="*/ 5486755 w 12191999"/>
              <a:gd name="connsiteY180" fmla="*/ 3750748 h 6857999"/>
              <a:gd name="connsiteX181" fmla="*/ 5544760 w 12191999"/>
              <a:gd name="connsiteY181" fmla="*/ 3750748 h 6857999"/>
              <a:gd name="connsiteX182" fmla="*/ 5544760 w 12191999"/>
              <a:gd name="connsiteY182" fmla="*/ 3527151 h 6857999"/>
              <a:gd name="connsiteX183" fmla="*/ 5498523 w 12191999"/>
              <a:gd name="connsiteY183" fmla="*/ 3398536 h 6857999"/>
              <a:gd name="connsiteX184" fmla="*/ 5379169 w 12191999"/>
              <a:gd name="connsiteY184" fmla="*/ 3349792 h 6857999"/>
              <a:gd name="connsiteX185" fmla="*/ 5842310 w 12191999"/>
              <a:gd name="connsiteY185" fmla="*/ 3348887 h 6857999"/>
              <a:gd name="connsiteX186" fmla="*/ 5701926 w 12191999"/>
              <a:gd name="connsiteY186" fmla="*/ 3406892 h 6857999"/>
              <a:gd name="connsiteX187" fmla="*/ 5645593 w 12191999"/>
              <a:gd name="connsiteY187" fmla="*/ 3551454 h 6857999"/>
              <a:gd name="connsiteX188" fmla="*/ 5701926 w 12191999"/>
              <a:gd name="connsiteY188" fmla="*/ 3692673 h 6857999"/>
              <a:gd name="connsiteX189" fmla="*/ 5842310 w 12191999"/>
              <a:gd name="connsiteY189" fmla="*/ 3750679 h 6857999"/>
              <a:gd name="connsiteX190" fmla="*/ 5987707 w 12191999"/>
              <a:gd name="connsiteY190" fmla="*/ 3695250 h 6857999"/>
              <a:gd name="connsiteX191" fmla="*/ 5987707 w 12191999"/>
              <a:gd name="connsiteY191" fmla="*/ 3763352 h 6857999"/>
              <a:gd name="connsiteX192" fmla="*/ 5851503 w 12191999"/>
              <a:gd name="connsiteY192" fmla="*/ 3902065 h 6857999"/>
              <a:gd name="connsiteX193" fmla="*/ 5719544 w 12191999"/>
              <a:gd name="connsiteY193" fmla="*/ 3810425 h 6857999"/>
              <a:gd name="connsiteX194" fmla="*/ 5659867 w 12191999"/>
              <a:gd name="connsiteY194" fmla="*/ 3810425 h 6857999"/>
              <a:gd name="connsiteX195" fmla="*/ 5723722 w 12191999"/>
              <a:gd name="connsiteY195" fmla="*/ 3914668 h 6857999"/>
              <a:gd name="connsiteX196" fmla="*/ 5851503 w 12191999"/>
              <a:gd name="connsiteY196" fmla="*/ 3954987 h 6857999"/>
              <a:gd name="connsiteX197" fmla="*/ 5991050 w 12191999"/>
              <a:gd name="connsiteY197" fmla="*/ 3902900 h 6857999"/>
              <a:gd name="connsiteX198" fmla="*/ 6044808 w 12191999"/>
              <a:gd name="connsiteY198" fmla="*/ 3763352 h 6857999"/>
              <a:gd name="connsiteX199" fmla="*/ 6044808 w 12191999"/>
              <a:gd name="connsiteY199" fmla="*/ 3362396 h 6857999"/>
              <a:gd name="connsiteX200" fmla="*/ 6044878 w 12191999"/>
              <a:gd name="connsiteY200" fmla="*/ 3362326 h 6857999"/>
              <a:gd name="connsiteX201" fmla="*/ 5987707 w 12191999"/>
              <a:gd name="connsiteY201" fmla="*/ 3362326 h 6857999"/>
              <a:gd name="connsiteX202" fmla="*/ 5987707 w 12191999"/>
              <a:gd name="connsiteY202" fmla="*/ 3404385 h 6857999"/>
              <a:gd name="connsiteX203" fmla="*/ 5842310 w 12191999"/>
              <a:gd name="connsiteY203" fmla="*/ 3348887 h 6857999"/>
              <a:gd name="connsiteX204" fmla="*/ 7445441 w 12191999"/>
              <a:gd name="connsiteY204" fmla="*/ 3218670 h 6857999"/>
              <a:gd name="connsiteX205" fmla="*/ 7445441 w 12191999"/>
              <a:gd name="connsiteY205" fmla="*/ 3362396 h 6857999"/>
              <a:gd name="connsiteX206" fmla="*/ 7342033 w 12191999"/>
              <a:gd name="connsiteY206" fmla="*/ 3362396 h 6857999"/>
              <a:gd name="connsiteX207" fmla="*/ 7342033 w 12191999"/>
              <a:gd name="connsiteY207" fmla="*/ 3411976 h 6857999"/>
              <a:gd name="connsiteX208" fmla="*/ 7445441 w 12191999"/>
              <a:gd name="connsiteY208" fmla="*/ 3411976 h 6857999"/>
              <a:gd name="connsiteX209" fmla="*/ 7445441 w 12191999"/>
              <a:gd name="connsiteY209" fmla="*/ 3611200 h 6857999"/>
              <a:gd name="connsiteX210" fmla="*/ 7579975 w 12191999"/>
              <a:gd name="connsiteY210" fmla="*/ 3763352 h 6857999"/>
              <a:gd name="connsiteX211" fmla="*/ 7664024 w 12191999"/>
              <a:gd name="connsiteY211" fmla="*/ 3749913 h 6857999"/>
              <a:gd name="connsiteX212" fmla="*/ 7654763 w 12191999"/>
              <a:gd name="connsiteY212" fmla="*/ 3700333 h 6857999"/>
              <a:gd name="connsiteX213" fmla="*/ 7654763 w 12191999"/>
              <a:gd name="connsiteY213" fmla="*/ 3700402 h 6857999"/>
              <a:gd name="connsiteX214" fmla="*/ 7590003 w 12191999"/>
              <a:gd name="connsiteY214" fmla="*/ 3710500 h 6857999"/>
              <a:gd name="connsiteX215" fmla="*/ 7502611 w 12191999"/>
              <a:gd name="connsiteY215" fmla="*/ 3611340 h 6857999"/>
              <a:gd name="connsiteX216" fmla="*/ 7502611 w 12191999"/>
              <a:gd name="connsiteY216" fmla="*/ 3412115 h 6857999"/>
              <a:gd name="connsiteX217" fmla="*/ 7649680 w 12191999"/>
              <a:gd name="connsiteY217" fmla="*/ 3412115 h 6857999"/>
              <a:gd name="connsiteX218" fmla="*/ 7649680 w 12191999"/>
              <a:gd name="connsiteY218" fmla="*/ 3362535 h 6857999"/>
              <a:gd name="connsiteX219" fmla="*/ 7502611 w 12191999"/>
              <a:gd name="connsiteY219" fmla="*/ 3362535 h 6857999"/>
              <a:gd name="connsiteX220" fmla="*/ 7502611 w 12191999"/>
              <a:gd name="connsiteY220" fmla="*/ 3218670 h 6857999"/>
              <a:gd name="connsiteX221" fmla="*/ 6428983 w 12191999"/>
              <a:gd name="connsiteY221" fmla="*/ 3179187 h 6857999"/>
              <a:gd name="connsiteX222" fmla="*/ 6428983 w 12191999"/>
              <a:gd name="connsiteY222" fmla="*/ 3750748 h 6857999"/>
              <a:gd name="connsiteX223" fmla="*/ 6488660 w 12191999"/>
              <a:gd name="connsiteY223" fmla="*/ 3750748 h 6857999"/>
              <a:gd name="connsiteX224" fmla="*/ 6488660 w 12191999"/>
              <a:gd name="connsiteY224" fmla="*/ 3508698 h 6857999"/>
              <a:gd name="connsiteX225" fmla="*/ 6782866 w 12191999"/>
              <a:gd name="connsiteY225" fmla="*/ 3508698 h 6857999"/>
              <a:gd name="connsiteX226" fmla="*/ 6782866 w 12191999"/>
              <a:gd name="connsiteY226" fmla="*/ 3453269 h 6857999"/>
              <a:gd name="connsiteX227" fmla="*/ 6488660 w 12191999"/>
              <a:gd name="connsiteY227" fmla="*/ 3453269 h 6857999"/>
              <a:gd name="connsiteX228" fmla="*/ 6488660 w 12191999"/>
              <a:gd name="connsiteY228" fmla="*/ 3233850 h 6857999"/>
              <a:gd name="connsiteX229" fmla="*/ 6819007 w 12191999"/>
              <a:gd name="connsiteY229" fmla="*/ 3233850 h 6857999"/>
              <a:gd name="connsiteX230" fmla="*/ 6819007 w 12191999"/>
              <a:gd name="connsiteY230" fmla="*/ 3179187 h 6857999"/>
              <a:gd name="connsiteX231" fmla="*/ 3305446 w 12191999"/>
              <a:gd name="connsiteY231" fmla="*/ 3179187 h 6857999"/>
              <a:gd name="connsiteX232" fmla="*/ 3305446 w 12191999"/>
              <a:gd name="connsiteY232" fmla="*/ 3750748 h 6857999"/>
              <a:gd name="connsiteX233" fmla="*/ 3365123 w 12191999"/>
              <a:gd name="connsiteY233" fmla="*/ 3750748 h 6857999"/>
              <a:gd name="connsiteX234" fmla="*/ 3363452 w 12191999"/>
              <a:gd name="connsiteY234" fmla="*/ 3307802 h 6857999"/>
              <a:gd name="connsiteX235" fmla="*/ 3561841 w 12191999"/>
              <a:gd name="connsiteY235" fmla="*/ 3638149 h 6857999"/>
              <a:gd name="connsiteX236" fmla="*/ 3602160 w 12191999"/>
              <a:gd name="connsiteY236" fmla="*/ 3638149 h 6857999"/>
              <a:gd name="connsiteX237" fmla="*/ 3798808 w 12191999"/>
              <a:gd name="connsiteY237" fmla="*/ 3308638 h 6857999"/>
              <a:gd name="connsiteX238" fmla="*/ 3797973 w 12191999"/>
              <a:gd name="connsiteY238" fmla="*/ 3750748 h 6857999"/>
              <a:gd name="connsiteX239" fmla="*/ 3857650 w 12191999"/>
              <a:gd name="connsiteY239" fmla="*/ 3750748 h 6857999"/>
              <a:gd name="connsiteX240" fmla="*/ 3857650 w 12191999"/>
              <a:gd name="connsiteY240" fmla="*/ 3179187 h 6857999"/>
              <a:gd name="connsiteX241" fmla="*/ 3812248 w 12191999"/>
              <a:gd name="connsiteY241" fmla="*/ 3179187 h 6857999"/>
              <a:gd name="connsiteX242" fmla="*/ 3581966 w 12191999"/>
              <a:gd name="connsiteY242" fmla="*/ 3565868 h 6857999"/>
              <a:gd name="connsiteX243" fmla="*/ 3351683 w 12191999"/>
              <a:gd name="connsiteY243" fmla="*/ 3179187 h 6857999"/>
              <a:gd name="connsiteX244" fmla="*/ 5002584 w 12191999"/>
              <a:gd name="connsiteY244" fmla="*/ 3176680 h 6857999"/>
              <a:gd name="connsiteX245" fmla="*/ 4963102 w 12191999"/>
              <a:gd name="connsiteY245" fmla="*/ 3215327 h 6857999"/>
              <a:gd name="connsiteX246" fmla="*/ 5042137 w 12191999"/>
              <a:gd name="connsiteY246" fmla="*/ 3215327 h 6857999"/>
              <a:gd name="connsiteX247" fmla="*/ 5042067 w 12191999"/>
              <a:gd name="connsiteY247" fmla="*/ 3215327 h 6857999"/>
              <a:gd name="connsiteX248" fmla="*/ 5002584 w 12191999"/>
              <a:gd name="connsiteY248" fmla="*/ 3176680 h 6857999"/>
              <a:gd name="connsiteX249" fmla="*/ 4506437 w 12191999"/>
              <a:gd name="connsiteY249" fmla="*/ 3153979 h 6857999"/>
              <a:gd name="connsiteX250" fmla="*/ 4506437 w 12191999"/>
              <a:gd name="connsiteY250" fmla="*/ 3750748 h 6857999"/>
              <a:gd name="connsiteX251" fmla="*/ 4563607 w 12191999"/>
              <a:gd name="connsiteY251" fmla="*/ 3750748 h 6857999"/>
              <a:gd name="connsiteX252" fmla="*/ 4563607 w 12191999"/>
              <a:gd name="connsiteY252" fmla="*/ 3643998 h 6857999"/>
              <a:gd name="connsiteX253" fmla="*/ 4645985 w 12191999"/>
              <a:gd name="connsiteY253" fmla="*/ 3564963 h 6857999"/>
              <a:gd name="connsiteX254" fmla="*/ 4645985 w 12191999"/>
              <a:gd name="connsiteY254" fmla="*/ 3565033 h 6857999"/>
              <a:gd name="connsiteX255" fmla="*/ 4813247 w 12191999"/>
              <a:gd name="connsiteY255" fmla="*/ 3750818 h 6857999"/>
              <a:gd name="connsiteX256" fmla="*/ 4888035 w 12191999"/>
              <a:gd name="connsiteY256" fmla="*/ 3750818 h 6857999"/>
              <a:gd name="connsiteX257" fmla="*/ 4687139 w 12191999"/>
              <a:gd name="connsiteY257" fmla="*/ 3525550 h 6857999"/>
              <a:gd name="connsiteX258" fmla="*/ 4856073 w 12191999"/>
              <a:gd name="connsiteY258" fmla="*/ 3362465 h 6857999"/>
              <a:gd name="connsiteX259" fmla="*/ 4782121 w 12191999"/>
              <a:gd name="connsiteY259" fmla="*/ 3362465 h 6857999"/>
              <a:gd name="connsiteX260" fmla="*/ 4563607 w 12191999"/>
              <a:gd name="connsiteY260" fmla="*/ 3568375 h 6857999"/>
              <a:gd name="connsiteX261" fmla="*/ 4563607 w 12191999"/>
              <a:gd name="connsiteY261" fmla="*/ 3153979 h 6857999"/>
              <a:gd name="connsiteX262" fmla="*/ 0 w 12191999"/>
              <a:gd name="connsiteY262" fmla="*/ 0 h 6857999"/>
              <a:gd name="connsiteX263" fmla="*/ 12191999 w 12191999"/>
              <a:gd name="connsiteY263" fmla="*/ 0 h 6857999"/>
              <a:gd name="connsiteX264" fmla="*/ 12191999 w 12191999"/>
              <a:gd name="connsiteY264" fmla="*/ 6857999 h 6857999"/>
              <a:gd name="connsiteX265" fmla="*/ 0 w 12191999"/>
              <a:gd name="connsiteY2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4184446" y="3402784"/>
                </a:moveTo>
                <a:cubicBezTo>
                  <a:pt x="4239944" y="3402784"/>
                  <a:pt x="4284442" y="3426320"/>
                  <a:pt x="4317239" y="3473393"/>
                </a:cubicBezTo>
                <a:lnTo>
                  <a:pt x="4317239" y="3640656"/>
                </a:lnTo>
                <a:cubicBezTo>
                  <a:pt x="4284442" y="3687729"/>
                  <a:pt x="4239944" y="3711265"/>
                  <a:pt x="4184446" y="3711265"/>
                </a:cubicBezTo>
                <a:cubicBezTo>
                  <a:pt x="4141550" y="3711265"/>
                  <a:pt x="4106246" y="3696155"/>
                  <a:pt x="4076860" y="3665864"/>
                </a:cubicBezTo>
                <a:cubicBezTo>
                  <a:pt x="4048310" y="3635573"/>
                  <a:pt x="4033965" y="3599432"/>
                  <a:pt x="4033965" y="3556607"/>
                </a:cubicBezTo>
                <a:cubicBezTo>
                  <a:pt x="4033965" y="3513781"/>
                  <a:pt x="4048240" y="3478407"/>
                  <a:pt x="4076860" y="3448186"/>
                </a:cubicBezTo>
                <a:cubicBezTo>
                  <a:pt x="4106315" y="3417964"/>
                  <a:pt x="4141620" y="3402784"/>
                  <a:pt x="4184446" y="3402784"/>
                </a:cubicBezTo>
                <a:close/>
                <a:moveTo>
                  <a:pt x="8710844" y="3401948"/>
                </a:moveTo>
                <a:cubicBezTo>
                  <a:pt x="8785631" y="3401948"/>
                  <a:pt x="8836952" y="3454871"/>
                  <a:pt x="8843637" y="3534742"/>
                </a:cubicBezTo>
                <a:lnTo>
                  <a:pt x="8568789" y="3534742"/>
                </a:lnTo>
                <a:cubicBezTo>
                  <a:pt x="8572967" y="3496930"/>
                  <a:pt x="8588147" y="3464968"/>
                  <a:pt x="8613355" y="3439760"/>
                </a:cubicBezTo>
                <a:cubicBezTo>
                  <a:pt x="8639398" y="3414552"/>
                  <a:pt x="8671361" y="3401948"/>
                  <a:pt x="8710844" y="3401948"/>
                </a:cubicBezTo>
                <a:close/>
                <a:moveTo>
                  <a:pt x="5848995" y="3399372"/>
                </a:moveTo>
                <a:cubicBezTo>
                  <a:pt x="5908672" y="3399372"/>
                  <a:pt x="5954909" y="3423744"/>
                  <a:pt x="5987707" y="3472488"/>
                </a:cubicBezTo>
                <a:lnTo>
                  <a:pt x="5987707" y="3627147"/>
                </a:lnTo>
                <a:cubicBezTo>
                  <a:pt x="5954909" y="3675891"/>
                  <a:pt x="5908672" y="3700263"/>
                  <a:pt x="5848995" y="3700263"/>
                </a:cubicBezTo>
                <a:lnTo>
                  <a:pt x="5848995" y="3700333"/>
                </a:lnTo>
                <a:cubicBezTo>
                  <a:pt x="5807771" y="3700333"/>
                  <a:pt x="5772536" y="3686058"/>
                  <a:pt x="5744751" y="3656602"/>
                </a:cubicBezTo>
                <a:cubicBezTo>
                  <a:pt x="5717037" y="3627147"/>
                  <a:pt x="5703597" y="3591912"/>
                  <a:pt x="5703597" y="3551523"/>
                </a:cubicBezTo>
                <a:cubicBezTo>
                  <a:pt x="5703597" y="3508629"/>
                  <a:pt x="5717037" y="3472488"/>
                  <a:pt x="5744751" y="3443102"/>
                </a:cubicBezTo>
                <a:cubicBezTo>
                  <a:pt x="5772536" y="3413647"/>
                  <a:pt x="5806935" y="3399372"/>
                  <a:pt x="5848995" y="3399372"/>
                </a:cubicBezTo>
                <a:close/>
                <a:moveTo>
                  <a:pt x="7758519" y="3362396"/>
                </a:moveTo>
                <a:lnTo>
                  <a:pt x="7758519" y="3586828"/>
                </a:lnTo>
                <a:cubicBezTo>
                  <a:pt x="7758519" y="3640656"/>
                  <a:pt x="7773630" y="3683481"/>
                  <a:pt x="7803921" y="3715444"/>
                </a:cubicBezTo>
                <a:cubicBezTo>
                  <a:pt x="7835047" y="3747336"/>
                  <a:pt x="7874531" y="3763352"/>
                  <a:pt x="7924111" y="3763352"/>
                </a:cubicBezTo>
                <a:cubicBezTo>
                  <a:pt x="7980445" y="3763352"/>
                  <a:pt x="8028354" y="3743994"/>
                  <a:pt x="8067001" y="3705347"/>
                </a:cubicBezTo>
                <a:lnTo>
                  <a:pt x="8067001" y="3750748"/>
                </a:lnTo>
                <a:lnTo>
                  <a:pt x="8124171" y="3750748"/>
                </a:lnTo>
                <a:lnTo>
                  <a:pt x="8124171" y="3362465"/>
                </a:lnTo>
                <a:lnTo>
                  <a:pt x="8067001" y="3362465"/>
                </a:lnTo>
                <a:lnTo>
                  <a:pt x="8067001" y="3638985"/>
                </a:lnTo>
                <a:cubicBezTo>
                  <a:pt x="8033367" y="3685222"/>
                  <a:pt x="7983788" y="3711265"/>
                  <a:pt x="7934207" y="3711265"/>
                </a:cubicBezTo>
                <a:cubicBezTo>
                  <a:pt x="7862762" y="3711265"/>
                  <a:pt x="7815689" y="3664192"/>
                  <a:pt x="7815689" y="3583486"/>
                </a:cubicBezTo>
                <a:lnTo>
                  <a:pt x="7815689" y="3362396"/>
                </a:lnTo>
                <a:close/>
                <a:moveTo>
                  <a:pt x="6897276" y="3362396"/>
                </a:moveTo>
                <a:lnTo>
                  <a:pt x="6897276" y="3586828"/>
                </a:lnTo>
                <a:cubicBezTo>
                  <a:pt x="6897276" y="3640656"/>
                  <a:pt x="6912387" y="3683481"/>
                  <a:pt x="6942678" y="3715444"/>
                </a:cubicBezTo>
                <a:cubicBezTo>
                  <a:pt x="6973805" y="3747336"/>
                  <a:pt x="7013288" y="3763352"/>
                  <a:pt x="7062868" y="3763352"/>
                </a:cubicBezTo>
                <a:cubicBezTo>
                  <a:pt x="7119202" y="3763352"/>
                  <a:pt x="7167111" y="3743994"/>
                  <a:pt x="7205758" y="3705347"/>
                </a:cubicBezTo>
                <a:lnTo>
                  <a:pt x="7205758" y="3750748"/>
                </a:lnTo>
                <a:lnTo>
                  <a:pt x="7262928" y="3750748"/>
                </a:lnTo>
                <a:lnTo>
                  <a:pt x="7262928" y="3362465"/>
                </a:lnTo>
                <a:lnTo>
                  <a:pt x="7205758" y="3362465"/>
                </a:lnTo>
                <a:lnTo>
                  <a:pt x="7205758" y="3638985"/>
                </a:lnTo>
                <a:cubicBezTo>
                  <a:pt x="7172125" y="3685222"/>
                  <a:pt x="7122544" y="3711265"/>
                  <a:pt x="7072965" y="3711265"/>
                </a:cubicBezTo>
                <a:cubicBezTo>
                  <a:pt x="7001520" y="3711265"/>
                  <a:pt x="6954446" y="3664192"/>
                  <a:pt x="6954446" y="3583486"/>
                </a:cubicBezTo>
                <a:lnTo>
                  <a:pt x="6954446" y="3362396"/>
                </a:lnTo>
                <a:close/>
                <a:moveTo>
                  <a:pt x="4973964" y="3362396"/>
                </a:moveTo>
                <a:lnTo>
                  <a:pt x="4973964" y="3750748"/>
                </a:lnTo>
                <a:lnTo>
                  <a:pt x="5031970" y="3750748"/>
                </a:lnTo>
                <a:lnTo>
                  <a:pt x="5031970" y="3362396"/>
                </a:lnTo>
                <a:close/>
                <a:moveTo>
                  <a:pt x="4176855" y="3352438"/>
                </a:moveTo>
                <a:cubicBezTo>
                  <a:pt x="4120521" y="3352438"/>
                  <a:pt x="4074283" y="3372632"/>
                  <a:pt x="4034800" y="3412115"/>
                </a:cubicBezTo>
                <a:cubicBezTo>
                  <a:pt x="3995318" y="3451598"/>
                  <a:pt x="3975959" y="3500342"/>
                  <a:pt x="3975959" y="3556676"/>
                </a:cubicBezTo>
                <a:cubicBezTo>
                  <a:pt x="3975959" y="3613011"/>
                  <a:pt x="3995318" y="3662591"/>
                  <a:pt x="4034800" y="3702074"/>
                </a:cubicBezTo>
                <a:cubicBezTo>
                  <a:pt x="4074283" y="3741626"/>
                  <a:pt x="4121356" y="3761751"/>
                  <a:pt x="4176855" y="3761751"/>
                </a:cubicBezTo>
                <a:cubicBezTo>
                  <a:pt x="4232354" y="3761751"/>
                  <a:pt x="4279427" y="3744063"/>
                  <a:pt x="4317239" y="3707923"/>
                </a:cubicBezTo>
                <a:lnTo>
                  <a:pt x="4317239" y="3750818"/>
                </a:lnTo>
                <a:lnTo>
                  <a:pt x="4375245" y="3750818"/>
                </a:lnTo>
                <a:lnTo>
                  <a:pt x="4375245" y="3362465"/>
                </a:lnTo>
                <a:lnTo>
                  <a:pt x="4317239" y="3362465"/>
                </a:lnTo>
                <a:lnTo>
                  <a:pt x="4317239" y="3406196"/>
                </a:lnTo>
                <a:cubicBezTo>
                  <a:pt x="4279427" y="3370055"/>
                  <a:pt x="4233190" y="3352438"/>
                  <a:pt x="4176855" y="3352438"/>
                </a:cubicBezTo>
                <a:close/>
                <a:moveTo>
                  <a:pt x="8712585" y="3352368"/>
                </a:moveTo>
                <a:cubicBezTo>
                  <a:pt x="8653743" y="3352368"/>
                  <a:pt x="8604999" y="3371727"/>
                  <a:pt x="8567187" y="3411210"/>
                </a:cubicBezTo>
                <a:cubicBezTo>
                  <a:pt x="8529376" y="3450762"/>
                  <a:pt x="8510853" y="3498601"/>
                  <a:pt x="8510853" y="3556607"/>
                </a:cubicBezTo>
                <a:cubicBezTo>
                  <a:pt x="8510853" y="3614613"/>
                  <a:pt x="8529306" y="3663357"/>
                  <a:pt x="8567187" y="3702840"/>
                </a:cubicBezTo>
                <a:cubicBezTo>
                  <a:pt x="8604999" y="3742323"/>
                  <a:pt x="8653743" y="3761681"/>
                  <a:pt x="8712585" y="3761681"/>
                </a:cubicBezTo>
                <a:cubicBezTo>
                  <a:pt x="8797469" y="3761681"/>
                  <a:pt x="8866408" y="3718786"/>
                  <a:pt x="8889109" y="3652424"/>
                </a:cubicBezTo>
                <a:lnTo>
                  <a:pt x="8826925" y="3652424"/>
                </a:lnTo>
                <a:cubicBezTo>
                  <a:pt x="8807567" y="3691977"/>
                  <a:pt x="8770591" y="3712101"/>
                  <a:pt x="8714256" y="3712101"/>
                </a:cubicBezTo>
                <a:cubicBezTo>
                  <a:pt x="8632714" y="3712101"/>
                  <a:pt x="8578120" y="3656602"/>
                  <a:pt x="8568858" y="3579308"/>
                </a:cubicBezTo>
                <a:lnTo>
                  <a:pt x="8897465" y="3579308"/>
                </a:lnTo>
                <a:lnTo>
                  <a:pt x="8897465" y="3577637"/>
                </a:lnTo>
                <a:lnTo>
                  <a:pt x="8900808" y="3579308"/>
                </a:lnTo>
                <a:cubicBezTo>
                  <a:pt x="8901643" y="3574294"/>
                  <a:pt x="8901643" y="3565868"/>
                  <a:pt x="8901643" y="3554936"/>
                </a:cubicBezTo>
                <a:cubicBezTo>
                  <a:pt x="8900808" y="3496094"/>
                  <a:pt x="8883120" y="3447350"/>
                  <a:pt x="8847885" y="3409538"/>
                </a:cubicBezTo>
                <a:cubicBezTo>
                  <a:pt x="8812580" y="3371727"/>
                  <a:pt x="8767179" y="3352368"/>
                  <a:pt x="8712585" y="3352368"/>
                </a:cubicBezTo>
                <a:close/>
                <a:moveTo>
                  <a:pt x="8465451" y="3352368"/>
                </a:moveTo>
                <a:cubicBezTo>
                  <a:pt x="8402432" y="3352368"/>
                  <a:pt x="8351111" y="3378412"/>
                  <a:pt x="8313299" y="3429663"/>
                </a:cubicBezTo>
                <a:lnTo>
                  <a:pt x="8313299" y="3362465"/>
                </a:lnTo>
                <a:lnTo>
                  <a:pt x="8256129" y="3362465"/>
                </a:lnTo>
                <a:lnTo>
                  <a:pt x="8256129" y="3750818"/>
                </a:lnTo>
                <a:lnTo>
                  <a:pt x="8313299" y="3750818"/>
                </a:lnTo>
                <a:lnTo>
                  <a:pt x="8313299" y="3497000"/>
                </a:lnTo>
                <a:cubicBezTo>
                  <a:pt x="8349439" y="3438994"/>
                  <a:pt x="8399855" y="3408703"/>
                  <a:pt x="8465451" y="3407031"/>
                </a:cubicBezTo>
                <a:close/>
                <a:moveTo>
                  <a:pt x="5379169" y="3349722"/>
                </a:moveTo>
                <a:cubicBezTo>
                  <a:pt x="5321163" y="3349722"/>
                  <a:pt x="5273254" y="3369081"/>
                  <a:pt x="5235444" y="3408563"/>
                </a:cubicBezTo>
                <a:lnTo>
                  <a:pt x="5235444" y="3362326"/>
                </a:lnTo>
                <a:lnTo>
                  <a:pt x="5178274" y="3362326"/>
                </a:lnTo>
                <a:lnTo>
                  <a:pt x="5178274" y="3750679"/>
                </a:lnTo>
                <a:lnTo>
                  <a:pt x="5235444" y="3750679"/>
                </a:lnTo>
                <a:lnTo>
                  <a:pt x="5235444" y="3474995"/>
                </a:lnTo>
                <a:cubicBezTo>
                  <a:pt x="5270748" y="3427086"/>
                  <a:pt x="5315314" y="3402714"/>
                  <a:pt x="5369073" y="3402714"/>
                </a:cubicBezTo>
                <a:cubicBezTo>
                  <a:pt x="5440517" y="3402714"/>
                  <a:pt x="5486755" y="3449787"/>
                  <a:pt x="5486755" y="3529658"/>
                </a:cubicBezTo>
                <a:lnTo>
                  <a:pt x="5486755" y="3750748"/>
                </a:lnTo>
                <a:lnTo>
                  <a:pt x="5544760" y="3750748"/>
                </a:lnTo>
                <a:lnTo>
                  <a:pt x="5544760" y="3527151"/>
                </a:lnTo>
                <a:cubicBezTo>
                  <a:pt x="5544760" y="3473393"/>
                  <a:pt x="5528814" y="3430498"/>
                  <a:pt x="5498523" y="3398536"/>
                </a:cubicBezTo>
                <a:cubicBezTo>
                  <a:pt x="5467396" y="3365738"/>
                  <a:pt x="5428749" y="3349792"/>
                  <a:pt x="5379169" y="3349792"/>
                </a:cubicBezTo>
                <a:close/>
                <a:moveTo>
                  <a:pt x="5842310" y="3348887"/>
                </a:moveTo>
                <a:cubicBezTo>
                  <a:pt x="5784304" y="3348887"/>
                  <a:pt x="5739738" y="3368245"/>
                  <a:pt x="5701926" y="3406892"/>
                </a:cubicBezTo>
                <a:cubicBezTo>
                  <a:pt x="5664114" y="3445539"/>
                  <a:pt x="5645593" y="3493448"/>
                  <a:pt x="5645593" y="3551454"/>
                </a:cubicBezTo>
                <a:cubicBezTo>
                  <a:pt x="5645593" y="3606117"/>
                  <a:pt x="5664045" y="3653121"/>
                  <a:pt x="5701926" y="3692673"/>
                </a:cubicBezTo>
                <a:cubicBezTo>
                  <a:pt x="5739738" y="3731320"/>
                  <a:pt x="5786811" y="3750679"/>
                  <a:pt x="5842310" y="3750679"/>
                </a:cubicBezTo>
                <a:cubicBezTo>
                  <a:pt x="5897809" y="3750679"/>
                  <a:pt x="5949061" y="3732226"/>
                  <a:pt x="5987707" y="3695250"/>
                </a:cubicBezTo>
                <a:lnTo>
                  <a:pt x="5987707" y="3763352"/>
                </a:lnTo>
                <a:cubicBezTo>
                  <a:pt x="5987707" y="3848237"/>
                  <a:pt x="5933044" y="3902065"/>
                  <a:pt x="5851503" y="3902065"/>
                </a:cubicBezTo>
                <a:cubicBezTo>
                  <a:pt x="5781727" y="3902065"/>
                  <a:pt x="5730476" y="3865089"/>
                  <a:pt x="5719544" y="3810425"/>
                </a:cubicBezTo>
                <a:lnTo>
                  <a:pt x="5659867" y="3810425"/>
                </a:lnTo>
                <a:cubicBezTo>
                  <a:pt x="5667457" y="3853320"/>
                  <a:pt x="5688417" y="3887720"/>
                  <a:pt x="5723722" y="3914668"/>
                </a:cubicBezTo>
                <a:cubicBezTo>
                  <a:pt x="5759027" y="3941547"/>
                  <a:pt x="5801852" y="3954987"/>
                  <a:pt x="5851503" y="3954987"/>
                </a:cubicBezTo>
                <a:cubicBezTo>
                  <a:pt x="5909508" y="3954987"/>
                  <a:pt x="5955745" y="3937300"/>
                  <a:pt x="5991050" y="3902900"/>
                </a:cubicBezTo>
                <a:cubicBezTo>
                  <a:pt x="6027190" y="3868431"/>
                  <a:pt x="6044808" y="3821358"/>
                  <a:pt x="6044808" y="3763352"/>
                </a:cubicBezTo>
                <a:lnTo>
                  <a:pt x="6044808" y="3362396"/>
                </a:lnTo>
                <a:lnTo>
                  <a:pt x="6044878" y="3362326"/>
                </a:lnTo>
                <a:lnTo>
                  <a:pt x="5987707" y="3362326"/>
                </a:lnTo>
                <a:lnTo>
                  <a:pt x="5987707" y="3404385"/>
                </a:lnTo>
                <a:cubicBezTo>
                  <a:pt x="5949061" y="3367409"/>
                  <a:pt x="5900316" y="3348887"/>
                  <a:pt x="5842310" y="3348887"/>
                </a:cubicBezTo>
                <a:close/>
                <a:moveTo>
                  <a:pt x="7445441" y="3218670"/>
                </a:moveTo>
                <a:lnTo>
                  <a:pt x="7445441" y="3362396"/>
                </a:lnTo>
                <a:lnTo>
                  <a:pt x="7342033" y="3362396"/>
                </a:lnTo>
                <a:lnTo>
                  <a:pt x="7342033" y="3411976"/>
                </a:lnTo>
                <a:lnTo>
                  <a:pt x="7445441" y="3411976"/>
                </a:lnTo>
                <a:lnTo>
                  <a:pt x="7445441" y="3611200"/>
                </a:lnTo>
                <a:cubicBezTo>
                  <a:pt x="7445441" y="3712867"/>
                  <a:pt x="7490007" y="3763352"/>
                  <a:pt x="7579975" y="3763352"/>
                </a:cubicBezTo>
                <a:cubicBezTo>
                  <a:pt x="7604347" y="3763352"/>
                  <a:pt x="7632898" y="3759174"/>
                  <a:pt x="7664024" y="3749913"/>
                </a:cubicBezTo>
                <a:lnTo>
                  <a:pt x="7654763" y="3700333"/>
                </a:lnTo>
                <a:lnTo>
                  <a:pt x="7654763" y="3700402"/>
                </a:lnTo>
                <a:cubicBezTo>
                  <a:pt x="7630391" y="3707087"/>
                  <a:pt x="7609361" y="3710500"/>
                  <a:pt x="7590003" y="3710500"/>
                </a:cubicBezTo>
                <a:cubicBezTo>
                  <a:pt x="7529490" y="3710500"/>
                  <a:pt x="7502611" y="3681114"/>
                  <a:pt x="7502611" y="3611340"/>
                </a:cubicBezTo>
                <a:lnTo>
                  <a:pt x="7502611" y="3412115"/>
                </a:lnTo>
                <a:lnTo>
                  <a:pt x="7649680" y="3412115"/>
                </a:lnTo>
                <a:lnTo>
                  <a:pt x="7649680" y="3362535"/>
                </a:lnTo>
                <a:lnTo>
                  <a:pt x="7502611" y="3362535"/>
                </a:lnTo>
                <a:lnTo>
                  <a:pt x="7502611" y="3218670"/>
                </a:lnTo>
                <a:close/>
                <a:moveTo>
                  <a:pt x="6428983" y="3179187"/>
                </a:moveTo>
                <a:lnTo>
                  <a:pt x="6428983" y="3750748"/>
                </a:lnTo>
                <a:lnTo>
                  <a:pt x="6488660" y="3750748"/>
                </a:lnTo>
                <a:lnTo>
                  <a:pt x="6488660" y="3508698"/>
                </a:lnTo>
                <a:lnTo>
                  <a:pt x="6782866" y="3508698"/>
                </a:lnTo>
                <a:lnTo>
                  <a:pt x="6782866" y="3453269"/>
                </a:lnTo>
                <a:lnTo>
                  <a:pt x="6488660" y="3453269"/>
                </a:lnTo>
                <a:lnTo>
                  <a:pt x="6488660" y="3233850"/>
                </a:lnTo>
                <a:lnTo>
                  <a:pt x="6819007" y="3233850"/>
                </a:lnTo>
                <a:lnTo>
                  <a:pt x="6819007" y="3179187"/>
                </a:lnTo>
                <a:close/>
                <a:moveTo>
                  <a:pt x="3305446" y="3179187"/>
                </a:moveTo>
                <a:lnTo>
                  <a:pt x="3305446" y="3750748"/>
                </a:lnTo>
                <a:lnTo>
                  <a:pt x="3365123" y="3750748"/>
                </a:lnTo>
                <a:lnTo>
                  <a:pt x="3363452" y="3307802"/>
                </a:lnTo>
                <a:lnTo>
                  <a:pt x="3561841" y="3638149"/>
                </a:lnTo>
                <a:lnTo>
                  <a:pt x="3602160" y="3638149"/>
                </a:lnTo>
                <a:lnTo>
                  <a:pt x="3798808" y="3308638"/>
                </a:lnTo>
                <a:lnTo>
                  <a:pt x="3797973" y="3750748"/>
                </a:lnTo>
                <a:lnTo>
                  <a:pt x="3857650" y="3750748"/>
                </a:lnTo>
                <a:lnTo>
                  <a:pt x="3857650" y="3179187"/>
                </a:lnTo>
                <a:lnTo>
                  <a:pt x="3812248" y="3179187"/>
                </a:lnTo>
                <a:lnTo>
                  <a:pt x="3581966" y="3565868"/>
                </a:lnTo>
                <a:lnTo>
                  <a:pt x="3351683" y="3179187"/>
                </a:lnTo>
                <a:close/>
                <a:moveTo>
                  <a:pt x="5002584" y="3176680"/>
                </a:moveTo>
                <a:cubicBezTo>
                  <a:pt x="4979883" y="3176680"/>
                  <a:pt x="4963937" y="3192626"/>
                  <a:pt x="4963102" y="3215327"/>
                </a:cubicBezTo>
                <a:cubicBezTo>
                  <a:pt x="4960594" y="3265743"/>
                  <a:pt x="5044644" y="3265743"/>
                  <a:pt x="5042137" y="3215327"/>
                </a:cubicBezTo>
                <a:lnTo>
                  <a:pt x="5042067" y="3215327"/>
                </a:lnTo>
                <a:cubicBezTo>
                  <a:pt x="5041232" y="3194297"/>
                  <a:pt x="5025285" y="3176680"/>
                  <a:pt x="5002584" y="3176680"/>
                </a:cubicBezTo>
                <a:close/>
                <a:moveTo>
                  <a:pt x="4506437" y="3153979"/>
                </a:moveTo>
                <a:lnTo>
                  <a:pt x="4506437" y="3750748"/>
                </a:lnTo>
                <a:lnTo>
                  <a:pt x="4563607" y="3750748"/>
                </a:lnTo>
                <a:lnTo>
                  <a:pt x="4563607" y="3643998"/>
                </a:lnTo>
                <a:lnTo>
                  <a:pt x="4645985" y="3564963"/>
                </a:lnTo>
                <a:lnTo>
                  <a:pt x="4645985" y="3565033"/>
                </a:lnTo>
                <a:lnTo>
                  <a:pt x="4813247" y="3750818"/>
                </a:lnTo>
                <a:lnTo>
                  <a:pt x="4888035" y="3750818"/>
                </a:lnTo>
                <a:lnTo>
                  <a:pt x="4687139" y="3525550"/>
                </a:lnTo>
                <a:lnTo>
                  <a:pt x="4856073" y="3362465"/>
                </a:lnTo>
                <a:lnTo>
                  <a:pt x="4782121" y="3362465"/>
                </a:lnTo>
                <a:lnTo>
                  <a:pt x="4563607" y="3568375"/>
                </a:lnTo>
                <a:lnTo>
                  <a:pt x="4563607" y="3153979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indent="0">
              <a:buNone/>
              <a:defRPr sz="1000"/>
            </a:lvl1pPr>
          </a:lstStyle>
          <a:p>
            <a:r>
              <a:rPr lang="en-GB" dirty="0"/>
              <a:t>Click on the icon to add pictur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67D6492-2EDF-5541-B82D-FBC77949CEB9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E38CBE9-473A-48E4-9478-C163A7F9E742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4F781E-A8FC-694F-A47D-EEE3E5502DE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9A0B8CD-F392-9143-9706-3C10B4EAF8E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5FBAF1-2743-2B92-481D-B6FE4A3232CB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3" name="textruta 5">
              <a:extLst>
                <a:ext uri="{FF2B5EF4-FFF2-40B4-BE49-F238E27FC236}">
                  <a16:creationId xmlns:a16="http://schemas.microsoft.com/office/drawing/2014/main" id="{9A45EBC1-9792-05D0-8D87-4136C6F90A2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4" name="Rektangel 17">
              <a:extLst>
                <a:ext uri="{FF2B5EF4-FFF2-40B4-BE49-F238E27FC236}">
                  <a16:creationId xmlns:a16="http://schemas.microsoft.com/office/drawing/2014/main" id="{790E09A2-A196-514E-B9A3-BAEF1E82DCD7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5" name="Rektangel 18">
              <a:extLst>
                <a:ext uri="{FF2B5EF4-FFF2-40B4-BE49-F238E27FC236}">
                  <a16:creationId xmlns:a16="http://schemas.microsoft.com/office/drawing/2014/main" id="{DA6153C4-9F0B-3C6A-CE98-F04C7B4DB80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08361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208AB4A-B7AB-8BFA-190F-FE35B1D15608}"/>
              </a:ext>
            </a:extLst>
          </p:cNvPr>
          <p:cNvSpPr>
            <a:spLocks noGrp="1"/>
          </p:cNvSpPr>
          <p:nvPr>
            <p:ph type="pic" sz="quarter" idx="13" hasCustomPrompt="1"/>
            <p:custDataLst>
              <p:tags r:id="rId1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4392388 w 12191999"/>
              <a:gd name="connsiteY0" fmla="*/ 2829432 h 6857999"/>
              <a:gd name="connsiteX1" fmla="*/ 4212816 w 12191999"/>
              <a:gd name="connsiteY1" fmla="*/ 3957696 h 6857999"/>
              <a:gd name="connsiteX2" fmla="*/ 3781291 w 12191999"/>
              <a:gd name="connsiteY2" fmla="*/ 4155502 h 6857999"/>
              <a:gd name="connsiteX3" fmla="*/ 4280777 w 12191999"/>
              <a:gd name="connsiteY3" fmla="*/ 2810094 h 6857999"/>
              <a:gd name="connsiteX4" fmla="*/ 4291275 w 12191999"/>
              <a:gd name="connsiteY4" fmla="*/ 2822802 h 6857999"/>
              <a:gd name="connsiteX5" fmla="*/ 3698964 w 12191999"/>
              <a:gd name="connsiteY5" fmla="*/ 4107985 h 6857999"/>
              <a:gd name="connsiteX6" fmla="*/ 3682941 w 12191999"/>
              <a:gd name="connsiteY6" fmla="*/ 4107432 h 6857999"/>
              <a:gd name="connsiteX7" fmla="*/ 3457509 w 12191999"/>
              <a:gd name="connsiteY7" fmla="*/ 3509595 h 6857999"/>
              <a:gd name="connsiteX8" fmla="*/ 6458294 w 12191999"/>
              <a:gd name="connsiteY8" fmla="*/ 2809542 h 6857999"/>
              <a:gd name="connsiteX9" fmla="*/ 6458294 w 12191999"/>
              <a:gd name="connsiteY9" fmla="*/ 3772046 h 6857999"/>
              <a:gd name="connsiteX10" fmla="*/ 6576535 w 12191999"/>
              <a:gd name="connsiteY10" fmla="*/ 3772046 h 6857999"/>
              <a:gd name="connsiteX11" fmla="*/ 6576535 w 12191999"/>
              <a:gd name="connsiteY11" fmla="*/ 3391354 h 6857999"/>
              <a:gd name="connsiteX12" fmla="*/ 6598637 w 12191999"/>
              <a:gd name="connsiteY12" fmla="*/ 3369253 h 6857999"/>
              <a:gd name="connsiteX13" fmla="*/ 7092045 w 12191999"/>
              <a:gd name="connsiteY13" fmla="*/ 3369253 h 6857999"/>
              <a:gd name="connsiteX14" fmla="*/ 7092045 w 12191999"/>
              <a:gd name="connsiteY14" fmla="*/ 3265930 h 6857999"/>
              <a:gd name="connsiteX15" fmla="*/ 6598637 w 12191999"/>
              <a:gd name="connsiteY15" fmla="*/ 3265930 h 6857999"/>
              <a:gd name="connsiteX16" fmla="*/ 6576535 w 12191999"/>
              <a:gd name="connsiteY16" fmla="*/ 3243829 h 6857999"/>
              <a:gd name="connsiteX17" fmla="*/ 6576535 w 12191999"/>
              <a:gd name="connsiteY17" fmla="*/ 2943254 h 6857999"/>
              <a:gd name="connsiteX18" fmla="*/ 6598637 w 12191999"/>
              <a:gd name="connsiteY18" fmla="*/ 2921153 h 6857999"/>
              <a:gd name="connsiteX19" fmla="*/ 7208628 w 12191999"/>
              <a:gd name="connsiteY19" fmla="*/ 2921153 h 6857999"/>
              <a:gd name="connsiteX20" fmla="*/ 7208628 w 12191999"/>
              <a:gd name="connsiteY20" fmla="*/ 2809542 h 6857999"/>
              <a:gd name="connsiteX21" fmla="*/ 5616793 w 12191999"/>
              <a:gd name="connsiteY21" fmla="*/ 2809542 h 6857999"/>
              <a:gd name="connsiteX22" fmla="*/ 5173665 w 12191999"/>
              <a:gd name="connsiteY22" fmla="*/ 3772046 h 6857999"/>
              <a:gd name="connsiteX23" fmla="*/ 5295222 w 12191999"/>
              <a:gd name="connsiteY23" fmla="*/ 3772046 h 6857999"/>
              <a:gd name="connsiteX24" fmla="*/ 5653260 w 12191999"/>
              <a:gd name="connsiteY24" fmla="*/ 2968669 h 6857999"/>
              <a:gd name="connsiteX25" fmla="*/ 5685859 w 12191999"/>
              <a:gd name="connsiteY25" fmla="*/ 2968669 h 6857999"/>
              <a:gd name="connsiteX26" fmla="*/ 5872061 w 12191999"/>
              <a:gd name="connsiteY26" fmla="*/ 3379751 h 6857999"/>
              <a:gd name="connsiteX27" fmla="*/ 5583088 w 12191999"/>
              <a:gd name="connsiteY27" fmla="*/ 3379751 h 6857999"/>
              <a:gd name="connsiteX28" fmla="*/ 5537229 w 12191999"/>
              <a:gd name="connsiteY28" fmla="*/ 3483074 h 6857999"/>
              <a:gd name="connsiteX29" fmla="*/ 5917369 w 12191999"/>
              <a:gd name="connsiteY29" fmla="*/ 3483074 h 6857999"/>
              <a:gd name="connsiteX30" fmla="*/ 6045003 w 12191999"/>
              <a:gd name="connsiteY30" fmla="*/ 3772046 h 6857999"/>
              <a:gd name="connsiteX31" fmla="*/ 6173742 w 12191999"/>
              <a:gd name="connsiteY31" fmla="*/ 3772046 h 6857999"/>
              <a:gd name="connsiteX32" fmla="*/ 5731167 w 12191999"/>
              <a:gd name="connsiteY32" fmla="*/ 2809542 h 6857999"/>
              <a:gd name="connsiteX33" fmla="*/ 8609289 w 12191999"/>
              <a:gd name="connsiteY33" fmla="*/ 2809541 h 6857999"/>
              <a:gd name="connsiteX34" fmla="*/ 9008768 w 12191999"/>
              <a:gd name="connsiteY34" fmla="*/ 3378646 h 6857999"/>
              <a:gd name="connsiteX35" fmla="*/ 9008768 w 12191999"/>
              <a:gd name="connsiteY35" fmla="*/ 3772046 h 6857999"/>
              <a:gd name="connsiteX36" fmla="*/ 9126456 w 12191999"/>
              <a:gd name="connsiteY36" fmla="*/ 3772046 h 6857999"/>
              <a:gd name="connsiteX37" fmla="*/ 9126456 w 12191999"/>
              <a:gd name="connsiteY37" fmla="*/ 3378646 h 6857999"/>
              <a:gd name="connsiteX38" fmla="*/ 9525935 w 12191999"/>
              <a:gd name="connsiteY38" fmla="*/ 2809541 h 6857999"/>
              <a:gd name="connsiteX39" fmla="*/ 9390565 w 12191999"/>
              <a:gd name="connsiteY39" fmla="*/ 2809541 h 6857999"/>
              <a:gd name="connsiteX40" fmla="*/ 9081701 w 12191999"/>
              <a:gd name="connsiteY40" fmla="*/ 3255432 h 6857999"/>
              <a:gd name="connsiteX41" fmla="*/ 9054627 w 12191999"/>
              <a:gd name="connsiteY41" fmla="*/ 3255432 h 6857999"/>
              <a:gd name="connsiteX42" fmla="*/ 8744659 w 12191999"/>
              <a:gd name="connsiteY42" fmla="*/ 2809541 h 6857999"/>
              <a:gd name="connsiteX43" fmla="*/ 7526332 w 12191999"/>
              <a:gd name="connsiteY43" fmla="*/ 2809541 h 6857999"/>
              <a:gd name="connsiteX44" fmla="*/ 7526332 w 12191999"/>
              <a:gd name="connsiteY44" fmla="*/ 3772046 h 6857999"/>
              <a:gd name="connsiteX45" fmla="*/ 7644573 w 12191999"/>
              <a:gd name="connsiteY45" fmla="*/ 3772046 h 6857999"/>
              <a:gd name="connsiteX46" fmla="*/ 7644573 w 12191999"/>
              <a:gd name="connsiteY46" fmla="*/ 2934965 h 6857999"/>
              <a:gd name="connsiteX47" fmla="*/ 7666675 w 12191999"/>
              <a:gd name="connsiteY47" fmla="*/ 2912864 h 6857999"/>
              <a:gd name="connsiteX48" fmla="*/ 8051787 w 12191999"/>
              <a:gd name="connsiteY48" fmla="*/ 2912864 h 6857999"/>
              <a:gd name="connsiteX49" fmla="*/ 8226386 w 12191999"/>
              <a:gd name="connsiteY49" fmla="*/ 2973643 h 6857999"/>
              <a:gd name="connsiteX50" fmla="*/ 8273351 w 12191999"/>
              <a:gd name="connsiteY50" fmla="*/ 3089121 h 6857999"/>
              <a:gd name="connsiteX51" fmla="*/ 8083834 w 12191999"/>
              <a:gd name="connsiteY51" fmla="*/ 3266483 h 6857999"/>
              <a:gd name="connsiteX52" fmla="*/ 7747344 w 12191999"/>
              <a:gd name="connsiteY52" fmla="*/ 3266483 h 6857999"/>
              <a:gd name="connsiteX53" fmla="*/ 7747344 w 12191999"/>
              <a:gd name="connsiteY53" fmla="*/ 3369805 h 6857999"/>
              <a:gd name="connsiteX54" fmla="*/ 8013110 w 12191999"/>
              <a:gd name="connsiteY54" fmla="*/ 3369805 h 6857999"/>
              <a:gd name="connsiteX55" fmla="*/ 8288270 w 12191999"/>
              <a:gd name="connsiteY55" fmla="*/ 3772046 h 6857999"/>
              <a:gd name="connsiteX56" fmla="*/ 8423087 w 12191999"/>
              <a:gd name="connsiteY56" fmla="*/ 3772046 h 6857999"/>
              <a:gd name="connsiteX57" fmla="*/ 8136877 w 12191999"/>
              <a:gd name="connsiteY57" fmla="*/ 3361518 h 6857999"/>
              <a:gd name="connsiteX58" fmla="*/ 8144612 w 12191999"/>
              <a:gd name="connsiteY58" fmla="*/ 3359860 h 6857999"/>
              <a:gd name="connsiteX59" fmla="*/ 8170029 w 12191999"/>
              <a:gd name="connsiteY59" fmla="*/ 3353782 h 6857999"/>
              <a:gd name="connsiteX60" fmla="*/ 8390487 w 12191999"/>
              <a:gd name="connsiteY60" fmla="*/ 3090226 h 6857999"/>
              <a:gd name="connsiteX61" fmla="*/ 8318106 w 12191999"/>
              <a:gd name="connsiteY61" fmla="*/ 2905129 h 6857999"/>
              <a:gd name="connsiteX62" fmla="*/ 8051787 w 12191999"/>
              <a:gd name="connsiteY62" fmla="*/ 2809541 h 6857999"/>
              <a:gd name="connsiteX63" fmla="*/ 4208948 w 12191999"/>
              <a:gd name="connsiteY63" fmla="*/ 2725004 h 6857999"/>
              <a:gd name="connsiteX64" fmla="*/ 4219446 w 12191999"/>
              <a:gd name="connsiteY64" fmla="*/ 2737713 h 6857999"/>
              <a:gd name="connsiteX65" fmla="*/ 3345898 w 12191999"/>
              <a:gd name="connsiteY65" fmla="*/ 3480311 h 6857999"/>
              <a:gd name="connsiteX66" fmla="*/ 3603929 w 12191999"/>
              <a:gd name="connsiteY66" fmla="*/ 4165447 h 6857999"/>
              <a:gd name="connsiteX67" fmla="*/ 2975151 w 12191999"/>
              <a:gd name="connsiteY67" fmla="*/ 3857689 h 6857999"/>
              <a:gd name="connsiteX68" fmla="*/ 2772373 w 12191999"/>
              <a:gd name="connsiteY68" fmla="*/ 3187471 h 6857999"/>
              <a:gd name="connsiteX69" fmla="*/ 3245890 w 12191999"/>
              <a:gd name="connsiteY69" fmla="*/ 3429479 h 6857999"/>
              <a:gd name="connsiteX70" fmla="*/ 3322692 w 12191999"/>
              <a:gd name="connsiteY70" fmla="*/ 3364280 h 6857999"/>
              <a:gd name="connsiteX71" fmla="*/ 2842544 w 12191999"/>
              <a:gd name="connsiteY71" fmla="*/ 3118958 h 6857999"/>
              <a:gd name="connsiteX72" fmla="*/ 2844754 w 12191999"/>
              <a:gd name="connsiteY72" fmla="*/ 3102934 h 6857999"/>
              <a:gd name="connsiteX73" fmla="*/ 3650825 w 12191999"/>
              <a:gd name="connsiteY73" fmla="*/ 2411306 h 6857999"/>
              <a:gd name="connsiteX74" fmla="*/ 4217788 w 12191999"/>
              <a:gd name="connsiteY74" fmla="*/ 2624444 h 6857999"/>
              <a:gd name="connsiteX75" fmla="*/ 2810497 w 12191999"/>
              <a:gd name="connsiteY75" fmla="*/ 3013977 h 6857999"/>
              <a:gd name="connsiteX76" fmla="*/ 3075159 w 12191999"/>
              <a:gd name="connsiteY76" fmla="*/ 2620024 h 6857999"/>
              <a:gd name="connsiteX77" fmla="*/ 3650825 w 12191999"/>
              <a:gd name="connsiteY77" fmla="*/ 2411306 h 6857999"/>
              <a:gd name="connsiteX78" fmla="*/ 3629213 w 12191999"/>
              <a:gd name="connsiteY78" fmla="*/ 2316014 h 6857999"/>
              <a:gd name="connsiteX79" fmla="*/ 3013828 w 12191999"/>
              <a:gd name="connsiteY79" fmla="*/ 2547642 h 6857999"/>
              <a:gd name="connsiteX80" fmla="*/ 2902770 w 12191999"/>
              <a:gd name="connsiteY80" fmla="*/ 3919019 h 6857999"/>
              <a:gd name="connsiteX81" fmla="*/ 4274147 w 12191999"/>
              <a:gd name="connsiteY81" fmla="*/ 4030078 h 6857999"/>
              <a:gd name="connsiteX82" fmla="*/ 4385205 w 12191999"/>
              <a:gd name="connsiteY82" fmla="*/ 2658701 h 6857999"/>
              <a:gd name="connsiteX83" fmla="*/ 3629213 w 12191999"/>
              <a:gd name="connsiteY83" fmla="*/ 2316014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4392388" y="2829432"/>
                </a:moveTo>
                <a:cubicBezTo>
                  <a:pt x="4615057" y="3191891"/>
                  <a:pt x="4546543" y="3674250"/>
                  <a:pt x="4212816" y="3957696"/>
                </a:cubicBezTo>
                <a:cubicBezTo>
                  <a:pt x="4085182" y="4065992"/>
                  <a:pt x="3935446" y="4131743"/>
                  <a:pt x="3781291" y="4155502"/>
                </a:cubicBezTo>
                <a:close/>
                <a:moveTo>
                  <a:pt x="4280777" y="2810094"/>
                </a:moveTo>
                <a:lnTo>
                  <a:pt x="4291275" y="2822802"/>
                </a:lnTo>
                <a:lnTo>
                  <a:pt x="3698964" y="4107985"/>
                </a:lnTo>
                <a:cubicBezTo>
                  <a:pt x="3691229" y="4107432"/>
                  <a:pt x="3690676" y="4107432"/>
                  <a:pt x="3682941" y="4107432"/>
                </a:cubicBezTo>
                <a:lnTo>
                  <a:pt x="3457509" y="3509595"/>
                </a:lnTo>
                <a:close/>
                <a:moveTo>
                  <a:pt x="6458294" y="2809542"/>
                </a:moveTo>
                <a:lnTo>
                  <a:pt x="6458294" y="3772046"/>
                </a:lnTo>
                <a:lnTo>
                  <a:pt x="6576535" y="3772046"/>
                </a:lnTo>
                <a:lnTo>
                  <a:pt x="6576535" y="3391354"/>
                </a:lnTo>
                <a:lnTo>
                  <a:pt x="6598637" y="3369253"/>
                </a:lnTo>
                <a:lnTo>
                  <a:pt x="7092045" y="3369253"/>
                </a:lnTo>
                <a:lnTo>
                  <a:pt x="7092045" y="3265930"/>
                </a:lnTo>
                <a:lnTo>
                  <a:pt x="6598637" y="3265930"/>
                </a:lnTo>
                <a:lnTo>
                  <a:pt x="6576535" y="3243829"/>
                </a:lnTo>
                <a:lnTo>
                  <a:pt x="6576535" y="2943254"/>
                </a:lnTo>
                <a:lnTo>
                  <a:pt x="6598637" y="2921153"/>
                </a:lnTo>
                <a:lnTo>
                  <a:pt x="7208628" y="2921153"/>
                </a:lnTo>
                <a:lnTo>
                  <a:pt x="7208628" y="2809542"/>
                </a:lnTo>
                <a:close/>
                <a:moveTo>
                  <a:pt x="5616793" y="2809542"/>
                </a:moveTo>
                <a:lnTo>
                  <a:pt x="5173665" y="3772046"/>
                </a:lnTo>
                <a:lnTo>
                  <a:pt x="5295222" y="3772046"/>
                </a:lnTo>
                <a:lnTo>
                  <a:pt x="5653260" y="2968669"/>
                </a:lnTo>
                <a:lnTo>
                  <a:pt x="5685859" y="2968669"/>
                </a:lnTo>
                <a:lnTo>
                  <a:pt x="5872061" y="3379751"/>
                </a:lnTo>
                <a:lnTo>
                  <a:pt x="5583088" y="3379751"/>
                </a:lnTo>
                <a:lnTo>
                  <a:pt x="5537229" y="3483074"/>
                </a:lnTo>
                <a:lnTo>
                  <a:pt x="5917369" y="3483074"/>
                </a:lnTo>
                <a:lnTo>
                  <a:pt x="6045003" y="3772046"/>
                </a:lnTo>
                <a:lnTo>
                  <a:pt x="6173742" y="3772046"/>
                </a:lnTo>
                <a:lnTo>
                  <a:pt x="5731167" y="2809542"/>
                </a:lnTo>
                <a:close/>
                <a:moveTo>
                  <a:pt x="8609289" y="2809541"/>
                </a:moveTo>
                <a:lnTo>
                  <a:pt x="9008768" y="3378646"/>
                </a:lnTo>
                <a:lnTo>
                  <a:pt x="9008768" y="3772046"/>
                </a:lnTo>
                <a:lnTo>
                  <a:pt x="9126456" y="3772046"/>
                </a:lnTo>
                <a:lnTo>
                  <a:pt x="9126456" y="3378646"/>
                </a:lnTo>
                <a:lnTo>
                  <a:pt x="9525935" y="2809541"/>
                </a:lnTo>
                <a:lnTo>
                  <a:pt x="9390565" y="2809541"/>
                </a:lnTo>
                <a:lnTo>
                  <a:pt x="9081701" y="3255432"/>
                </a:lnTo>
                <a:lnTo>
                  <a:pt x="9054627" y="3255432"/>
                </a:lnTo>
                <a:lnTo>
                  <a:pt x="8744659" y="2809541"/>
                </a:lnTo>
                <a:close/>
                <a:moveTo>
                  <a:pt x="7526332" y="2809541"/>
                </a:moveTo>
                <a:lnTo>
                  <a:pt x="7526332" y="3772046"/>
                </a:lnTo>
                <a:lnTo>
                  <a:pt x="7644573" y="3772046"/>
                </a:lnTo>
                <a:lnTo>
                  <a:pt x="7644573" y="2934965"/>
                </a:lnTo>
                <a:lnTo>
                  <a:pt x="7666675" y="2912864"/>
                </a:lnTo>
                <a:lnTo>
                  <a:pt x="8051787" y="2912864"/>
                </a:lnTo>
                <a:cubicBezTo>
                  <a:pt x="8108145" y="2912864"/>
                  <a:pt x="8172791" y="2920047"/>
                  <a:pt x="8226386" y="2973643"/>
                </a:cubicBezTo>
                <a:cubicBezTo>
                  <a:pt x="8256776" y="3005689"/>
                  <a:pt x="8273351" y="3046576"/>
                  <a:pt x="8273351" y="3089121"/>
                </a:cubicBezTo>
                <a:cubicBezTo>
                  <a:pt x="8273351" y="3188576"/>
                  <a:pt x="8189920" y="3266483"/>
                  <a:pt x="8083834" y="3266483"/>
                </a:cubicBezTo>
                <a:lnTo>
                  <a:pt x="7747344" y="3266483"/>
                </a:lnTo>
                <a:lnTo>
                  <a:pt x="7747344" y="3369805"/>
                </a:lnTo>
                <a:lnTo>
                  <a:pt x="8013110" y="3369805"/>
                </a:lnTo>
                <a:lnTo>
                  <a:pt x="8288270" y="3772046"/>
                </a:lnTo>
                <a:lnTo>
                  <a:pt x="8423087" y="3772046"/>
                </a:lnTo>
                <a:lnTo>
                  <a:pt x="8136877" y="3361518"/>
                </a:lnTo>
                <a:lnTo>
                  <a:pt x="8144612" y="3359860"/>
                </a:lnTo>
                <a:cubicBezTo>
                  <a:pt x="8158425" y="3357097"/>
                  <a:pt x="8166713" y="3354887"/>
                  <a:pt x="8170029" y="3353782"/>
                </a:cubicBezTo>
                <a:cubicBezTo>
                  <a:pt x="8305951" y="3316763"/>
                  <a:pt x="8390487" y="3215650"/>
                  <a:pt x="8390487" y="3090226"/>
                </a:cubicBezTo>
                <a:cubicBezTo>
                  <a:pt x="8390487" y="3019503"/>
                  <a:pt x="8365624" y="2955409"/>
                  <a:pt x="8318106" y="2905129"/>
                </a:cubicBezTo>
                <a:cubicBezTo>
                  <a:pt x="8256776" y="2841036"/>
                  <a:pt x="8169476" y="2809541"/>
                  <a:pt x="8051787" y="2809541"/>
                </a:cubicBezTo>
                <a:close/>
                <a:moveTo>
                  <a:pt x="4208948" y="2725004"/>
                </a:moveTo>
                <a:lnTo>
                  <a:pt x="4219446" y="2737713"/>
                </a:lnTo>
                <a:lnTo>
                  <a:pt x="3345898" y="3480311"/>
                </a:lnTo>
                <a:lnTo>
                  <a:pt x="3603929" y="4165447"/>
                </a:lnTo>
                <a:cubicBezTo>
                  <a:pt x="3369104" y="4154950"/>
                  <a:pt x="3138699" y="4050521"/>
                  <a:pt x="2975151" y="3857689"/>
                </a:cubicBezTo>
                <a:cubicBezTo>
                  <a:pt x="2811050" y="3664856"/>
                  <a:pt x="2745299" y="3421191"/>
                  <a:pt x="2772373" y="3187471"/>
                </a:cubicBezTo>
                <a:lnTo>
                  <a:pt x="3245890" y="3429479"/>
                </a:lnTo>
                <a:lnTo>
                  <a:pt x="3322692" y="3364280"/>
                </a:lnTo>
                <a:lnTo>
                  <a:pt x="2842544" y="3118958"/>
                </a:lnTo>
                <a:cubicBezTo>
                  <a:pt x="2843649" y="3111222"/>
                  <a:pt x="2843649" y="3110669"/>
                  <a:pt x="2844754" y="3102934"/>
                </a:cubicBezTo>
                <a:close/>
                <a:moveTo>
                  <a:pt x="3650825" y="2411306"/>
                </a:moveTo>
                <a:cubicBezTo>
                  <a:pt x="3854501" y="2413102"/>
                  <a:pt x="4056727" y="2485207"/>
                  <a:pt x="4217788" y="2624444"/>
                </a:cubicBezTo>
                <a:lnTo>
                  <a:pt x="2810497" y="3013977"/>
                </a:lnTo>
                <a:cubicBezTo>
                  <a:pt x="2859120" y="2865347"/>
                  <a:pt x="2948077" y="2728320"/>
                  <a:pt x="3075159" y="2620024"/>
                </a:cubicBezTo>
                <a:cubicBezTo>
                  <a:pt x="3242022" y="2478024"/>
                  <a:pt x="3447149" y="2409510"/>
                  <a:pt x="3650825" y="2411306"/>
                </a:cubicBezTo>
                <a:close/>
                <a:moveTo>
                  <a:pt x="3629213" y="2316014"/>
                </a:moveTo>
                <a:cubicBezTo>
                  <a:pt x="3411204" y="2319206"/>
                  <a:pt x="3192951" y="2395352"/>
                  <a:pt x="3013828" y="2547642"/>
                </a:cubicBezTo>
                <a:cubicBezTo>
                  <a:pt x="2604404" y="2895736"/>
                  <a:pt x="2554676" y="3509595"/>
                  <a:pt x="2902770" y="3919019"/>
                </a:cubicBezTo>
                <a:cubicBezTo>
                  <a:pt x="3250863" y="4328443"/>
                  <a:pt x="3864722" y="4378171"/>
                  <a:pt x="4274147" y="4030078"/>
                </a:cubicBezTo>
                <a:cubicBezTo>
                  <a:pt x="4683570" y="3681984"/>
                  <a:pt x="4733298" y="3068125"/>
                  <a:pt x="4385205" y="2658701"/>
                </a:cubicBezTo>
                <a:cubicBezTo>
                  <a:pt x="4189402" y="2428400"/>
                  <a:pt x="3909510" y="2311909"/>
                  <a:pt x="3629213" y="2316014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>
              <a:buNone/>
              <a:defRPr sz="1000"/>
            </a:lvl1pPr>
          </a:lstStyle>
          <a:p>
            <a:r>
              <a:rPr lang="en-GB"/>
              <a:t>Click on icon to add pictur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CE010E-0FBB-6D86-F69C-AB2DFFE6982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64590" y="6985417"/>
            <a:ext cx="482610" cy="190501"/>
          </a:xfrm>
        </p:spPr>
        <p:txBody>
          <a:bodyPr/>
          <a:lstStyle/>
          <a:p>
            <a:fld id="{7642DC2A-2079-42FB-864C-1298ABFFC5B9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F820F6-7942-3AAD-BA49-F7988F49A29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1447200" y="6985417"/>
            <a:ext cx="4396388" cy="1905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70763-2134-0E04-8DA4-E49D52F16C9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766800" y="6985417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27908D-8229-B3B8-9D98-BC39F311650E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8" name="textruta 5">
              <a:extLst>
                <a:ext uri="{FF2B5EF4-FFF2-40B4-BE49-F238E27FC236}">
                  <a16:creationId xmlns:a16="http://schemas.microsoft.com/office/drawing/2014/main" id="{DE786423-625A-9C27-CD69-4A0A52CD86F1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9" name="Rektangel 17">
              <a:extLst>
                <a:ext uri="{FF2B5EF4-FFF2-40B4-BE49-F238E27FC236}">
                  <a16:creationId xmlns:a16="http://schemas.microsoft.com/office/drawing/2014/main" id="{261E63F2-9029-5D9F-217A-EDD09529AABA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0" name="Rektangel 18">
              <a:extLst>
                <a:ext uri="{FF2B5EF4-FFF2-40B4-BE49-F238E27FC236}">
                  <a16:creationId xmlns:a16="http://schemas.microsoft.com/office/drawing/2014/main" id="{8FA24B72-7E31-0E13-BC5B-9F8B9F947BE8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422736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with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5BC2A309-5BF0-1AA3-73DF-0E6927BC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019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4" imgH="385" progId="TCLayout.ActiveDocument.1">
                  <p:embed/>
                </p:oleObj>
              </mc:Choice>
              <mc:Fallback>
                <p:oleObj name="think-cell Slide" r:id="rId10" imgW="384" imgH="385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C2A309-5BF0-1AA3-73DF-0E6927BC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E727E53-E357-512B-3595-9007E83F29A5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2" y="2"/>
            <a:ext cx="12191999" cy="6857999"/>
          </a:xfrm>
          <a:custGeom>
            <a:avLst/>
            <a:gdLst>
              <a:gd name="connsiteX0" fmla="*/ 10976776 w 12191999"/>
              <a:gd name="connsiteY0" fmla="*/ 6429382 h 6857999"/>
              <a:gd name="connsiteX1" fmla="*/ 10944465 w 12191999"/>
              <a:gd name="connsiteY1" fmla="*/ 6632395 h 6857999"/>
              <a:gd name="connsiteX2" fmla="*/ 10866819 w 12191999"/>
              <a:gd name="connsiteY2" fmla="*/ 6667986 h 6857999"/>
              <a:gd name="connsiteX3" fmla="*/ 10956693 w 12191999"/>
              <a:gd name="connsiteY3" fmla="*/ 6425902 h 6857999"/>
              <a:gd name="connsiteX4" fmla="*/ 10958582 w 12191999"/>
              <a:gd name="connsiteY4" fmla="*/ 6428188 h 6857999"/>
              <a:gd name="connsiteX5" fmla="*/ 10852005 w 12191999"/>
              <a:gd name="connsiteY5" fmla="*/ 6659437 h 6857999"/>
              <a:gd name="connsiteX6" fmla="*/ 10849122 w 12191999"/>
              <a:gd name="connsiteY6" fmla="*/ 6659337 h 6857999"/>
              <a:gd name="connsiteX7" fmla="*/ 10808559 w 12191999"/>
              <a:gd name="connsiteY7" fmla="*/ 6551766 h 6857999"/>
              <a:gd name="connsiteX8" fmla="*/ 11735540 w 12191999"/>
              <a:gd name="connsiteY8" fmla="*/ 6425802 h 6857999"/>
              <a:gd name="connsiteX9" fmla="*/ 11807420 w 12191999"/>
              <a:gd name="connsiteY9" fmla="*/ 6528204 h 6857999"/>
              <a:gd name="connsiteX10" fmla="*/ 11807420 w 12191999"/>
              <a:gd name="connsiteY10" fmla="*/ 6598990 h 6857999"/>
              <a:gd name="connsiteX11" fmla="*/ 11828596 w 12191999"/>
              <a:gd name="connsiteY11" fmla="*/ 6598990 h 6857999"/>
              <a:gd name="connsiteX12" fmla="*/ 11828596 w 12191999"/>
              <a:gd name="connsiteY12" fmla="*/ 6528204 h 6857999"/>
              <a:gd name="connsiteX13" fmla="*/ 11900476 w 12191999"/>
              <a:gd name="connsiteY13" fmla="*/ 6425802 h 6857999"/>
              <a:gd name="connsiteX14" fmla="*/ 11876118 w 12191999"/>
              <a:gd name="connsiteY14" fmla="*/ 6425802 h 6857999"/>
              <a:gd name="connsiteX15" fmla="*/ 11820543 w 12191999"/>
              <a:gd name="connsiteY15" fmla="*/ 6506033 h 6857999"/>
              <a:gd name="connsiteX16" fmla="*/ 11815672 w 12191999"/>
              <a:gd name="connsiteY16" fmla="*/ 6506033 h 6857999"/>
              <a:gd name="connsiteX17" fmla="*/ 11759898 w 12191999"/>
              <a:gd name="connsiteY17" fmla="*/ 6425802 h 6857999"/>
              <a:gd name="connsiteX18" fmla="*/ 11540679 w 12191999"/>
              <a:gd name="connsiteY18" fmla="*/ 6425802 h 6857999"/>
              <a:gd name="connsiteX19" fmla="*/ 11540679 w 12191999"/>
              <a:gd name="connsiteY19" fmla="*/ 6598990 h 6857999"/>
              <a:gd name="connsiteX20" fmla="*/ 11561955 w 12191999"/>
              <a:gd name="connsiteY20" fmla="*/ 6598990 h 6857999"/>
              <a:gd name="connsiteX21" fmla="*/ 11561955 w 12191999"/>
              <a:gd name="connsiteY21" fmla="*/ 6448370 h 6857999"/>
              <a:gd name="connsiteX22" fmla="*/ 11565931 w 12191999"/>
              <a:gd name="connsiteY22" fmla="*/ 6444394 h 6857999"/>
              <a:gd name="connsiteX23" fmla="*/ 11635226 w 12191999"/>
              <a:gd name="connsiteY23" fmla="*/ 6444394 h 6857999"/>
              <a:gd name="connsiteX24" fmla="*/ 11666642 w 12191999"/>
              <a:gd name="connsiteY24" fmla="*/ 6455330 h 6857999"/>
              <a:gd name="connsiteX25" fmla="*/ 11675093 w 12191999"/>
              <a:gd name="connsiteY25" fmla="*/ 6476108 h 6857999"/>
              <a:gd name="connsiteX26" fmla="*/ 11640992 w 12191999"/>
              <a:gd name="connsiteY26" fmla="*/ 6508022 h 6857999"/>
              <a:gd name="connsiteX27" fmla="*/ 11580446 w 12191999"/>
              <a:gd name="connsiteY27" fmla="*/ 6508022 h 6857999"/>
              <a:gd name="connsiteX28" fmla="*/ 11580446 w 12191999"/>
              <a:gd name="connsiteY28" fmla="*/ 6526613 h 6857999"/>
              <a:gd name="connsiteX29" fmla="*/ 11628267 w 12191999"/>
              <a:gd name="connsiteY29" fmla="*/ 6526613 h 6857999"/>
              <a:gd name="connsiteX30" fmla="*/ 11677777 w 12191999"/>
              <a:gd name="connsiteY30" fmla="*/ 6598990 h 6857999"/>
              <a:gd name="connsiteX31" fmla="*/ 11702035 w 12191999"/>
              <a:gd name="connsiteY31" fmla="*/ 6598990 h 6857999"/>
              <a:gd name="connsiteX32" fmla="*/ 11650536 w 12191999"/>
              <a:gd name="connsiteY32" fmla="*/ 6525122 h 6857999"/>
              <a:gd name="connsiteX33" fmla="*/ 11651928 w 12191999"/>
              <a:gd name="connsiteY33" fmla="*/ 6524824 h 6857999"/>
              <a:gd name="connsiteX34" fmla="*/ 11656502 w 12191999"/>
              <a:gd name="connsiteY34" fmla="*/ 6523730 h 6857999"/>
              <a:gd name="connsiteX35" fmla="*/ 11696170 w 12191999"/>
              <a:gd name="connsiteY35" fmla="*/ 6476307 h 6857999"/>
              <a:gd name="connsiteX36" fmla="*/ 11683146 w 12191999"/>
              <a:gd name="connsiteY36" fmla="*/ 6443002 h 6857999"/>
              <a:gd name="connsiteX37" fmla="*/ 11635226 w 12191999"/>
              <a:gd name="connsiteY37" fmla="*/ 6425802 h 6857999"/>
              <a:gd name="connsiteX38" fmla="*/ 11348503 w 12191999"/>
              <a:gd name="connsiteY38" fmla="*/ 6425802 h 6857999"/>
              <a:gd name="connsiteX39" fmla="*/ 11348503 w 12191999"/>
              <a:gd name="connsiteY39" fmla="*/ 6598990 h 6857999"/>
              <a:gd name="connsiteX40" fmla="*/ 11369779 w 12191999"/>
              <a:gd name="connsiteY40" fmla="*/ 6598990 h 6857999"/>
              <a:gd name="connsiteX41" fmla="*/ 11369779 w 12191999"/>
              <a:gd name="connsiteY41" fmla="*/ 6530490 h 6857999"/>
              <a:gd name="connsiteX42" fmla="*/ 11373755 w 12191999"/>
              <a:gd name="connsiteY42" fmla="*/ 6526514 h 6857999"/>
              <a:gd name="connsiteX43" fmla="*/ 11462536 w 12191999"/>
              <a:gd name="connsiteY43" fmla="*/ 6526514 h 6857999"/>
              <a:gd name="connsiteX44" fmla="*/ 11462536 w 12191999"/>
              <a:gd name="connsiteY44" fmla="*/ 6507922 h 6857999"/>
              <a:gd name="connsiteX45" fmla="*/ 11373755 w 12191999"/>
              <a:gd name="connsiteY45" fmla="*/ 6507922 h 6857999"/>
              <a:gd name="connsiteX46" fmla="*/ 11369779 w 12191999"/>
              <a:gd name="connsiteY46" fmla="*/ 6503946 h 6857999"/>
              <a:gd name="connsiteX47" fmla="*/ 11369779 w 12191999"/>
              <a:gd name="connsiteY47" fmla="*/ 6449862 h 6857999"/>
              <a:gd name="connsiteX48" fmla="*/ 11373755 w 12191999"/>
              <a:gd name="connsiteY48" fmla="*/ 6445885 h 6857999"/>
              <a:gd name="connsiteX49" fmla="*/ 11483513 w 12191999"/>
              <a:gd name="connsiteY49" fmla="*/ 6445885 h 6857999"/>
              <a:gd name="connsiteX50" fmla="*/ 11483513 w 12191999"/>
              <a:gd name="connsiteY50" fmla="*/ 6425802 h 6857999"/>
              <a:gd name="connsiteX51" fmla="*/ 11197088 w 12191999"/>
              <a:gd name="connsiteY51" fmla="*/ 6425802 h 6857999"/>
              <a:gd name="connsiteX52" fmla="*/ 11117354 w 12191999"/>
              <a:gd name="connsiteY52" fmla="*/ 6598990 h 6857999"/>
              <a:gd name="connsiteX53" fmla="*/ 11139226 w 12191999"/>
              <a:gd name="connsiteY53" fmla="*/ 6598990 h 6857999"/>
              <a:gd name="connsiteX54" fmla="*/ 11203650 w 12191999"/>
              <a:gd name="connsiteY54" fmla="*/ 6454435 h 6857999"/>
              <a:gd name="connsiteX55" fmla="*/ 11209515 w 12191999"/>
              <a:gd name="connsiteY55" fmla="*/ 6454435 h 6857999"/>
              <a:gd name="connsiteX56" fmla="*/ 11243019 w 12191999"/>
              <a:gd name="connsiteY56" fmla="*/ 6528403 h 6857999"/>
              <a:gd name="connsiteX57" fmla="*/ 11191023 w 12191999"/>
              <a:gd name="connsiteY57" fmla="*/ 6528403 h 6857999"/>
              <a:gd name="connsiteX58" fmla="*/ 11182772 w 12191999"/>
              <a:gd name="connsiteY58" fmla="*/ 6546994 h 6857999"/>
              <a:gd name="connsiteX59" fmla="*/ 11251172 w 12191999"/>
              <a:gd name="connsiteY59" fmla="*/ 6546994 h 6857999"/>
              <a:gd name="connsiteX60" fmla="*/ 11274137 w 12191999"/>
              <a:gd name="connsiteY60" fmla="*/ 6598990 h 6857999"/>
              <a:gd name="connsiteX61" fmla="*/ 11297302 w 12191999"/>
              <a:gd name="connsiteY61" fmla="*/ 6598990 h 6857999"/>
              <a:gd name="connsiteX62" fmla="*/ 11217668 w 12191999"/>
              <a:gd name="connsiteY62" fmla="*/ 6425802 h 6857999"/>
              <a:gd name="connsiteX63" fmla="*/ 10943769 w 12191999"/>
              <a:gd name="connsiteY63" fmla="*/ 6410591 h 6857999"/>
              <a:gd name="connsiteX64" fmla="*/ 10945658 w 12191999"/>
              <a:gd name="connsiteY64" fmla="*/ 6412878 h 6857999"/>
              <a:gd name="connsiteX65" fmla="*/ 10788477 w 12191999"/>
              <a:gd name="connsiteY65" fmla="*/ 6546497 h 6857999"/>
              <a:gd name="connsiteX66" fmla="*/ 10834905 w 12191999"/>
              <a:gd name="connsiteY66" fmla="*/ 6669776 h 6857999"/>
              <a:gd name="connsiteX67" fmla="*/ 10721767 w 12191999"/>
              <a:gd name="connsiteY67" fmla="*/ 6614400 h 6857999"/>
              <a:gd name="connsiteX68" fmla="*/ 10685280 w 12191999"/>
              <a:gd name="connsiteY68" fmla="*/ 6493805 h 6857999"/>
              <a:gd name="connsiteX69" fmla="*/ 10770482 w 12191999"/>
              <a:gd name="connsiteY69" fmla="*/ 6537350 h 6857999"/>
              <a:gd name="connsiteX70" fmla="*/ 10784301 w 12191999"/>
              <a:gd name="connsiteY70" fmla="*/ 6525619 h 6857999"/>
              <a:gd name="connsiteX71" fmla="*/ 10697906 w 12191999"/>
              <a:gd name="connsiteY71" fmla="*/ 6481477 h 6857999"/>
              <a:gd name="connsiteX72" fmla="*/ 10698304 w 12191999"/>
              <a:gd name="connsiteY72" fmla="*/ 6478594 h 6857999"/>
              <a:gd name="connsiteX73" fmla="*/ 10843343 w 12191999"/>
              <a:gd name="connsiteY73" fmla="*/ 6354147 h 6857999"/>
              <a:gd name="connsiteX74" fmla="*/ 10945359 w 12191999"/>
              <a:gd name="connsiteY74" fmla="*/ 6392497 h 6857999"/>
              <a:gd name="connsiteX75" fmla="*/ 10692140 w 12191999"/>
              <a:gd name="connsiteY75" fmla="*/ 6462587 h 6857999"/>
              <a:gd name="connsiteX76" fmla="*/ 10739761 w 12191999"/>
              <a:gd name="connsiteY76" fmla="*/ 6391702 h 6857999"/>
              <a:gd name="connsiteX77" fmla="*/ 10843343 w 12191999"/>
              <a:gd name="connsiteY77" fmla="*/ 6354147 h 6857999"/>
              <a:gd name="connsiteX78" fmla="*/ 10856243 w 12191999"/>
              <a:gd name="connsiteY78" fmla="*/ 6337556 h 6857999"/>
              <a:gd name="connsiteX79" fmla="*/ 10728726 w 12191999"/>
              <a:gd name="connsiteY79" fmla="*/ 6378678 h 6857999"/>
              <a:gd name="connsiteX80" fmla="*/ 10708743 w 12191999"/>
              <a:gd name="connsiteY80" fmla="*/ 6625435 h 6857999"/>
              <a:gd name="connsiteX81" fmla="*/ 10955500 w 12191999"/>
              <a:gd name="connsiteY81" fmla="*/ 6645418 h 6857999"/>
              <a:gd name="connsiteX82" fmla="*/ 10975483 w 12191999"/>
              <a:gd name="connsiteY82" fmla="*/ 6398661 h 6857999"/>
              <a:gd name="connsiteX83" fmla="*/ 10856243 w 12191999"/>
              <a:gd name="connsiteY83" fmla="*/ 6337556 h 6857999"/>
              <a:gd name="connsiteX84" fmla="*/ 0 w 12191999"/>
              <a:gd name="connsiteY84" fmla="*/ 0 h 6857999"/>
              <a:gd name="connsiteX85" fmla="*/ 12191999 w 12191999"/>
              <a:gd name="connsiteY85" fmla="*/ 0 h 6857999"/>
              <a:gd name="connsiteX86" fmla="*/ 12191999 w 12191999"/>
              <a:gd name="connsiteY86" fmla="*/ 6857999 h 6857999"/>
              <a:gd name="connsiteX87" fmla="*/ 0 w 12191999"/>
              <a:gd name="connsiteY8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2191999" h="6857999">
                <a:moveTo>
                  <a:pt x="10976776" y="6429382"/>
                </a:moveTo>
                <a:cubicBezTo>
                  <a:pt x="11016841" y="6494600"/>
                  <a:pt x="11004513" y="6581393"/>
                  <a:pt x="10944465" y="6632395"/>
                </a:cubicBezTo>
                <a:cubicBezTo>
                  <a:pt x="10921499" y="6651881"/>
                  <a:pt x="10894556" y="6663711"/>
                  <a:pt x="10866819" y="6667986"/>
                </a:cubicBezTo>
                <a:close/>
                <a:moveTo>
                  <a:pt x="10956693" y="6425902"/>
                </a:moveTo>
                <a:lnTo>
                  <a:pt x="10958582" y="6428188"/>
                </a:lnTo>
                <a:lnTo>
                  <a:pt x="10852005" y="6659437"/>
                </a:lnTo>
                <a:cubicBezTo>
                  <a:pt x="10850613" y="6659337"/>
                  <a:pt x="10850514" y="6659337"/>
                  <a:pt x="10849122" y="6659337"/>
                </a:cubicBezTo>
                <a:lnTo>
                  <a:pt x="10808559" y="6551766"/>
                </a:lnTo>
                <a:close/>
                <a:moveTo>
                  <a:pt x="11735540" y="6425802"/>
                </a:moveTo>
                <a:lnTo>
                  <a:pt x="11807420" y="6528204"/>
                </a:lnTo>
                <a:lnTo>
                  <a:pt x="11807420" y="6598990"/>
                </a:lnTo>
                <a:lnTo>
                  <a:pt x="11828596" y="6598990"/>
                </a:lnTo>
                <a:lnTo>
                  <a:pt x="11828596" y="6528204"/>
                </a:lnTo>
                <a:lnTo>
                  <a:pt x="11900476" y="6425802"/>
                </a:lnTo>
                <a:lnTo>
                  <a:pt x="11876118" y="6425802"/>
                </a:lnTo>
                <a:lnTo>
                  <a:pt x="11820543" y="6506033"/>
                </a:lnTo>
                <a:lnTo>
                  <a:pt x="11815672" y="6506033"/>
                </a:lnTo>
                <a:lnTo>
                  <a:pt x="11759898" y="6425802"/>
                </a:lnTo>
                <a:close/>
                <a:moveTo>
                  <a:pt x="11540679" y="6425802"/>
                </a:moveTo>
                <a:lnTo>
                  <a:pt x="11540679" y="6598990"/>
                </a:lnTo>
                <a:lnTo>
                  <a:pt x="11561955" y="6598990"/>
                </a:lnTo>
                <a:lnTo>
                  <a:pt x="11561955" y="6448370"/>
                </a:lnTo>
                <a:lnTo>
                  <a:pt x="11565931" y="6444394"/>
                </a:lnTo>
                <a:lnTo>
                  <a:pt x="11635226" y="6444394"/>
                </a:lnTo>
                <a:cubicBezTo>
                  <a:pt x="11645367" y="6444394"/>
                  <a:pt x="11656999" y="6445686"/>
                  <a:pt x="11666642" y="6455330"/>
                </a:cubicBezTo>
                <a:cubicBezTo>
                  <a:pt x="11672110" y="6461096"/>
                  <a:pt x="11675093" y="6468453"/>
                  <a:pt x="11675093" y="6476108"/>
                </a:cubicBezTo>
                <a:cubicBezTo>
                  <a:pt x="11675093" y="6494004"/>
                  <a:pt x="11660081" y="6508022"/>
                  <a:pt x="11640992" y="6508022"/>
                </a:cubicBezTo>
                <a:lnTo>
                  <a:pt x="11580446" y="6508022"/>
                </a:lnTo>
                <a:lnTo>
                  <a:pt x="11580446" y="6526613"/>
                </a:lnTo>
                <a:lnTo>
                  <a:pt x="11628267" y="6526613"/>
                </a:lnTo>
                <a:lnTo>
                  <a:pt x="11677777" y="6598990"/>
                </a:lnTo>
                <a:lnTo>
                  <a:pt x="11702035" y="6598990"/>
                </a:lnTo>
                <a:lnTo>
                  <a:pt x="11650536" y="6525122"/>
                </a:lnTo>
                <a:lnTo>
                  <a:pt x="11651928" y="6524824"/>
                </a:lnTo>
                <a:cubicBezTo>
                  <a:pt x="11654414" y="6524326"/>
                  <a:pt x="11655905" y="6523929"/>
                  <a:pt x="11656502" y="6523730"/>
                </a:cubicBezTo>
                <a:cubicBezTo>
                  <a:pt x="11680959" y="6517069"/>
                  <a:pt x="11696170" y="6498875"/>
                  <a:pt x="11696170" y="6476307"/>
                </a:cubicBezTo>
                <a:cubicBezTo>
                  <a:pt x="11696170" y="6463581"/>
                  <a:pt x="11691696" y="6452049"/>
                  <a:pt x="11683146" y="6443002"/>
                </a:cubicBezTo>
                <a:cubicBezTo>
                  <a:pt x="11672110" y="6431469"/>
                  <a:pt x="11656402" y="6425802"/>
                  <a:pt x="11635226" y="6425802"/>
                </a:cubicBezTo>
                <a:close/>
                <a:moveTo>
                  <a:pt x="11348503" y="6425802"/>
                </a:moveTo>
                <a:lnTo>
                  <a:pt x="11348503" y="6598990"/>
                </a:lnTo>
                <a:lnTo>
                  <a:pt x="11369779" y="6598990"/>
                </a:lnTo>
                <a:lnTo>
                  <a:pt x="11369779" y="6530490"/>
                </a:lnTo>
                <a:lnTo>
                  <a:pt x="11373755" y="6526514"/>
                </a:lnTo>
                <a:lnTo>
                  <a:pt x="11462536" y="6526514"/>
                </a:lnTo>
                <a:lnTo>
                  <a:pt x="11462536" y="6507922"/>
                </a:lnTo>
                <a:lnTo>
                  <a:pt x="11373755" y="6507922"/>
                </a:lnTo>
                <a:lnTo>
                  <a:pt x="11369779" y="6503946"/>
                </a:lnTo>
                <a:lnTo>
                  <a:pt x="11369779" y="6449862"/>
                </a:lnTo>
                <a:lnTo>
                  <a:pt x="11373755" y="6445885"/>
                </a:lnTo>
                <a:lnTo>
                  <a:pt x="11483513" y="6445885"/>
                </a:lnTo>
                <a:lnTo>
                  <a:pt x="11483513" y="6425802"/>
                </a:lnTo>
                <a:close/>
                <a:moveTo>
                  <a:pt x="11197088" y="6425802"/>
                </a:moveTo>
                <a:lnTo>
                  <a:pt x="11117354" y="6598990"/>
                </a:lnTo>
                <a:lnTo>
                  <a:pt x="11139226" y="6598990"/>
                </a:lnTo>
                <a:lnTo>
                  <a:pt x="11203650" y="6454435"/>
                </a:lnTo>
                <a:lnTo>
                  <a:pt x="11209515" y="6454435"/>
                </a:lnTo>
                <a:lnTo>
                  <a:pt x="11243019" y="6528403"/>
                </a:lnTo>
                <a:lnTo>
                  <a:pt x="11191023" y="6528403"/>
                </a:lnTo>
                <a:lnTo>
                  <a:pt x="11182772" y="6546994"/>
                </a:lnTo>
                <a:lnTo>
                  <a:pt x="11251172" y="6546994"/>
                </a:lnTo>
                <a:lnTo>
                  <a:pt x="11274137" y="6598990"/>
                </a:lnTo>
                <a:lnTo>
                  <a:pt x="11297302" y="6598990"/>
                </a:lnTo>
                <a:lnTo>
                  <a:pt x="11217668" y="6425802"/>
                </a:lnTo>
                <a:close/>
                <a:moveTo>
                  <a:pt x="10943769" y="6410591"/>
                </a:moveTo>
                <a:lnTo>
                  <a:pt x="10945658" y="6412878"/>
                </a:lnTo>
                <a:lnTo>
                  <a:pt x="10788477" y="6546497"/>
                </a:lnTo>
                <a:lnTo>
                  <a:pt x="10834905" y="6669776"/>
                </a:lnTo>
                <a:cubicBezTo>
                  <a:pt x="10792652" y="6667887"/>
                  <a:pt x="10751195" y="6649097"/>
                  <a:pt x="10721767" y="6614400"/>
                </a:cubicBezTo>
                <a:cubicBezTo>
                  <a:pt x="10692239" y="6579703"/>
                  <a:pt x="10680408" y="6535859"/>
                  <a:pt x="10685280" y="6493805"/>
                </a:cubicBezTo>
                <a:lnTo>
                  <a:pt x="10770482" y="6537350"/>
                </a:lnTo>
                <a:lnTo>
                  <a:pt x="10784301" y="6525619"/>
                </a:lnTo>
                <a:lnTo>
                  <a:pt x="10697906" y="6481477"/>
                </a:lnTo>
                <a:cubicBezTo>
                  <a:pt x="10698105" y="6480085"/>
                  <a:pt x="10698105" y="6479986"/>
                  <a:pt x="10698304" y="6478594"/>
                </a:cubicBezTo>
                <a:close/>
                <a:moveTo>
                  <a:pt x="10843343" y="6354147"/>
                </a:moveTo>
                <a:cubicBezTo>
                  <a:pt x="10879991" y="6354470"/>
                  <a:pt x="10916378" y="6367444"/>
                  <a:pt x="10945359" y="6392497"/>
                </a:cubicBezTo>
                <a:lnTo>
                  <a:pt x="10692140" y="6462587"/>
                </a:lnTo>
                <a:cubicBezTo>
                  <a:pt x="10700889" y="6435844"/>
                  <a:pt x="10716895" y="6411188"/>
                  <a:pt x="10739761" y="6391702"/>
                </a:cubicBezTo>
                <a:cubicBezTo>
                  <a:pt x="10769786" y="6366151"/>
                  <a:pt x="10806695" y="6353823"/>
                  <a:pt x="10843343" y="6354147"/>
                </a:cubicBezTo>
                <a:close/>
                <a:moveTo>
                  <a:pt x="10856243" y="6337556"/>
                </a:moveTo>
                <a:cubicBezTo>
                  <a:pt x="10811591" y="6333940"/>
                  <a:pt x="10765560" y="6347361"/>
                  <a:pt x="10728726" y="6378678"/>
                </a:cubicBezTo>
                <a:cubicBezTo>
                  <a:pt x="10655057" y="6441312"/>
                  <a:pt x="10646109" y="6551766"/>
                  <a:pt x="10708743" y="6625435"/>
                </a:cubicBezTo>
                <a:cubicBezTo>
                  <a:pt x="10771377" y="6699105"/>
                  <a:pt x="10881831" y="6708052"/>
                  <a:pt x="10955500" y="6645418"/>
                </a:cubicBezTo>
                <a:cubicBezTo>
                  <a:pt x="11029169" y="6582785"/>
                  <a:pt x="11038117" y="6472330"/>
                  <a:pt x="10975483" y="6398661"/>
                </a:cubicBezTo>
                <a:cubicBezTo>
                  <a:pt x="10944166" y="6361826"/>
                  <a:pt x="10900894" y="6341172"/>
                  <a:pt x="10856243" y="633755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7938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900"/>
            </a:lvl1pPr>
          </a:lstStyle>
          <a:p>
            <a:r>
              <a:rPr lang="en-GB" dirty="0"/>
              <a:t>If the picture placeholder icon is underneath the text box, select the grey placeholder box, then go to Insert in the top menu and select Pictures. Do NOT move the textbox!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532100"/>
            <a:ext cx="8362949" cy="1700035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lnSpc>
                <a:spcPct val="90000"/>
              </a:lnSpc>
              <a:defRPr sz="6000" spc="8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</a:t>
            </a:r>
            <a:br>
              <a:rPr lang="en-GB" dirty="0"/>
            </a:br>
            <a:r>
              <a:rPr lang="en-GB" dirty="0"/>
              <a:t>a headline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559C74F0-3489-BE40-A493-A19FCFB72EA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66800" y="4573648"/>
            <a:ext cx="8362950" cy="288925"/>
          </a:xfrm>
        </p:spPr>
        <p:txBody>
          <a:bodyPr/>
          <a:lstStyle>
            <a:lvl1pPr marL="7938" indent="0">
              <a:buNone/>
              <a:defRPr sz="900" cap="all" baseline="0"/>
            </a:lvl1pPr>
          </a:lstStyle>
          <a:p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NAM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4B931DF-58A8-F94E-AC82-34C4F1393CE3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D238DBD9-0591-4584-B74D-54B8E6C8A61F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D2894AE-B051-1F4F-BEAA-11797BB466C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930A2A3-0215-4C43-B62B-ED34B55FF00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3D4A1A-4B05-D2F2-97DF-9D1CD102303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5F0B6A05-33A1-B40D-A5E7-FB9A0D80E8F5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372C5367-1DB1-2D7A-AA48-0622DC668E2B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7" name="Rektangel 18">
              <a:extLst>
                <a:ext uri="{FF2B5EF4-FFF2-40B4-BE49-F238E27FC236}">
                  <a16:creationId xmlns:a16="http://schemas.microsoft.com/office/drawing/2014/main" id="{83BAE4C9-C8A7-1AA1-4272-4652C2436E44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937724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28F3CB63-5CEC-1E43-980F-B1876E26727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22841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  <p:custDataLst>
              <p:tags r:id="rId2"/>
            </p:custDataLst>
          </p:nvPr>
        </p:nvSpPr>
        <p:spPr>
          <a:xfrm>
            <a:off x="6107658" y="3430800"/>
            <a:ext cx="3039664" cy="342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12741CB-3626-DF91-D4CD-FC3A9BE4CF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1686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4" imgH="385" progId="TCLayout.ActiveDocument.1">
                  <p:embed/>
                </p:oleObj>
              </mc:Choice>
              <mc:Fallback>
                <p:oleObj name="think-cell Slide" r:id="rId13" imgW="384" imgH="38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741CB-3626-DF91-D4CD-FC3A9BE4C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A30DC71E-2988-E7D0-D661-1F0B4C2270F8}"/>
              </a:ext>
            </a:extLst>
          </p:cNvPr>
          <p:cNvSpPr>
            <a:spLocks noGrp="1"/>
          </p:cNvSpPr>
          <p:nvPr>
            <p:ph type="pic" sz="quarter" idx="17" hasCustomPrompt="1"/>
            <p:custDataLst>
              <p:tags r:id="rId4"/>
            </p:custDataLst>
          </p:nvPr>
        </p:nvSpPr>
        <p:spPr>
          <a:xfrm>
            <a:off x="9146400" y="3430800"/>
            <a:ext cx="3045600" cy="3427200"/>
          </a:xfrm>
          <a:custGeom>
            <a:avLst/>
            <a:gdLst>
              <a:gd name="connsiteX0" fmla="*/ 1830377 w 3045600"/>
              <a:gd name="connsiteY0" fmla="*/ 2998583 h 3427200"/>
              <a:gd name="connsiteX1" fmla="*/ 1798066 w 3045600"/>
              <a:gd name="connsiteY1" fmla="*/ 3201596 h 3427200"/>
              <a:gd name="connsiteX2" fmla="*/ 1720420 w 3045600"/>
              <a:gd name="connsiteY2" fmla="*/ 3237187 h 3427200"/>
              <a:gd name="connsiteX3" fmla="*/ 1810294 w 3045600"/>
              <a:gd name="connsiteY3" fmla="*/ 2995103 h 3427200"/>
              <a:gd name="connsiteX4" fmla="*/ 1812183 w 3045600"/>
              <a:gd name="connsiteY4" fmla="*/ 2997389 h 3427200"/>
              <a:gd name="connsiteX5" fmla="*/ 1705606 w 3045600"/>
              <a:gd name="connsiteY5" fmla="*/ 3228638 h 3427200"/>
              <a:gd name="connsiteX6" fmla="*/ 1702723 w 3045600"/>
              <a:gd name="connsiteY6" fmla="*/ 3228538 h 3427200"/>
              <a:gd name="connsiteX7" fmla="*/ 1662160 w 3045600"/>
              <a:gd name="connsiteY7" fmla="*/ 3120967 h 3427200"/>
              <a:gd name="connsiteX8" fmla="*/ 2589141 w 3045600"/>
              <a:gd name="connsiteY8" fmla="*/ 2995003 h 3427200"/>
              <a:gd name="connsiteX9" fmla="*/ 2661021 w 3045600"/>
              <a:gd name="connsiteY9" fmla="*/ 3097405 h 3427200"/>
              <a:gd name="connsiteX10" fmla="*/ 2661021 w 3045600"/>
              <a:gd name="connsiteY10" fmla="*/ 3168191 h 3427200"/>
              <a:gd name="connsiteX11" fmla="*/ 2682197 w 3045600"/>
              <a:gd name="connsiteY11" fmla="*/ 3168191 h 3427200"/>
              <a:gd name="connsiteX12" fmla="*/ 2682197 w 3045600"/>
              <a:gd name="connsiteY12" fmla="*/ 3097405 h 3427200"/>
              <a:gd name="connsiteX13" fmla="*/ 2754077 w 3045600"/>
              <a:gd name="connsiteY13" fmla="*/ 2995003 h 3427200"/>
              <a:gd name="connsiteX14" fmla="*/ 2729719 w 3045600"/>
              <a:gd name="connsiteY14" fmla="*/ 2995003 h 3427200"/>
              <a:gd name="connsiteX15" fmla="*/ 2674144 w 3045600"/>
              <a:gd name="connsiteY15" fmla="*/ 3075234 h 3427200"/>
              <a:gd name="connsiteX16" fmla="*/ 2669273 w 3045600"/>
              <a:gd name="connsiteY16" fmla="*/ 3075234 h 3427200"/>
              <a:gd name="connsiteX17" fmla="*/ 2613499 w 3045600"/>
              <a:gd name="connsiteY17" fmla="*/ 2995003 h 3427200"/>
              <a:gd name="connsiteX18" fmla="*/ 2394280 w 3045600"/>
              <a:gd name="connsiteY18" fmla="*/ 2995003 h 3427200"/>
              <a:gd name="connsiteX19" fmla="*/ 2394280 w 3045600"/>
              <a:gd name="connsiteY19" fmla="*/ 3168191 h 3427200"/>
              <a:gd name="connsiteX20" fmla="*/ 2415556 w 3045600"/>
              <a:gd name="connsiteY20" fmla="*/ 3168191 h 3427200"/>
              <a:gd name="connsiteX21" fmla="*/ 2415556 w 3045600"/>
              <a:gd name="connsiteY21" fmla="*/ 3017571 h 3427200"/>
              <a:gd name="connsiteX22" fmla="*/ 2419532 w 3045600"/>
              <a:gd name="connsiteY22" fmla="*/ 3013595 h 3427200"/>
              <a:gd name="connsiteX23" fmla="*/ 2488827 w 3045600"/>
              <a:gd name="connsiteY23" fmla="*/ 3013595 h 3427200"/>
              <a:gd name="connsiteX24" fmla="*/ 2520243 w 3045600"/>
              <a:gd name="connsiteY24" fmla="*/ 3024531 h 3427200"/>
              <a:gd name="connsiteX25" fmla="*/ 2528694 w 3045600"/>
              <a:gd name="connsiteY25" fmla="*/ 3045309 h 3427200"/>
              <a:gd name="connsiteX26" fmla="*/ 2494593 w 3045600"/>
              <a:gd name="connsiteY26" fmla="*/ 3077223 h 3427200"/>
              <a:gd name="connsiteX27" fmla="*/ 2434047 w 3045600"/>
              <a:gd name="connsiteY27" fmla="*/ 3077223 h 3427200"/>
              <a:gd name="connsiteX28" fmla="*/ 2434047 w 3045600"/>
              <a:gd name="connsiteY28" fmla="*/ 3095814 h 3427200"/>
              <a:gd name="connsiteX29" fmla="*/ 2481868 w 3045600"/>
              <a:gd name="connsiteY29" fmla="*/ 3095814 h 3427200"/>
              <a:gd name="connsiteX30" fmla="*/ 2531378 w 3045600"/>
              <a:gd name="connsiteY30" fmla="*/ 3168191 h 3427200"/>
              <a:gd name="connsiteX31" fmla="*/ 2555636 w 3045600"/>
              <a:gd name="connsiteY31" fmla="*/ 3168191 h 3427200"/>
              <a:gd name="connsiteX32" fmla="*/ 2504137 w 3045600"/>
              <a:gd name="connsiteY32" fmla="*/ 3094323 h 3427200"/>
              <a:gd name="connsiteX33" fmla="*/ 2505529 w 3045600"/>
              <a:gd name="connsiteY33" fmla="*/ 3094025 h 3427200"/>
              <a:gd name="connsiteX34" fmla="*/ 2510103 w 3045600"/>
              <a:gd name="connsiteY34" fmla="*/ 3092931 h 3427200"/>
              <a:gd name="connsiteX35" fmla="*/ 2549771 w 3045600"/>
              <a:gd name="connsiteY35" fmla="*/ 3045508 h 3427200"/>
              <a:gd name="connsiteX36" fmla="*/ 2536747 w 3045600"/>
              <a:gd name="connsiteY36" fmla="*/ 3012203 h 3427200"/>
              <a:gd name="connsiteX37" fmla="*/ 2488827 w 3045600"/>
              <a:gd name="connsiteY37" fmla="*/ 2995003 h 3427200"/>
              <a:gd name="connsiteX38" fmla="*/ 2202104 w 3045600"/>
              <a:gd name="connsiteY38" fmla="*/ 2995003 h 3427200"/>
              <a:gd name="connsiteX39" fmla="*/ 2202104 w 3045600"/>
              <a:gd name="connsiteY39" fmla="*/ 3168191 h 3427200"/>
              <a:gd name="connsiteX40" fmla="*/ 2223380 w 3045600"/>
              <a:gd name="connsiteY40" fmla="*/ 3168191 h 3427200"/>
              <a:gd name="connsiteX41" fmla="*/ 2223380 w 3045600"/>
              <a:gd name="connsiteY41" fmla="*/ 3099691 h 3427200"/>
              <a:gd name="connsiteX42" fmla="*/ 2227356 w 3045600"/>
              <a:gd name="connsiteY42" fmla="*/ 3095715 h 3427200"/>
              <a:gd name="connsiteX43" fmla="*/ 2316137 w 3045600"/>
              <a:gd name="connsiteY43" fmla="*/ 3095715 h 3427200"/>
              <a:gd name="connsiteX44" fmla="*/ 2316137 w 3045600"/>
              <a:gd name="connsiteY44" fmla="*/ 3077123 h 3427200"/>
              <a:gd name="connsiteX45" fmla="*/ 2227356 w 3045600"/>
              <a:gd name="connsiteY45" fmla="*/ 3077123 h 3427200"/>
              <a:gd name="connsiteX46" fmla="*/ 2223380 w 3045600"/>
              <a:gd name="connsiteY46" fmla="*/ 3073147 h 3427200"/>
              <a:gd name="connsiteX47" fmla="*/ 2223380 w 3045600"/>
              <a:gd name="connsiteY47" fmla="*/ 3019063 h 3427200"/>
              <a:gd name="connsiteX48" fmla="*/ 2227356 w 3045600"/>
              <a:gd name="connsiteY48" fmla="*/ 3015086 h 3427200"/>
              <a:gd name="connsiteX49" fmla="*/ 2337114 w 3045600"/>
              <a:gd name="connsiteY49" fmla="*/ 3015086 h 3427200"/>
              <a:gd name="connsiteX50" fmla="*/ 2337114 w 3045600"/>
              <a:gd name="connsiteY50" fmla="*/ 2995003 h 3427200"/>
              <a:gd name="connsiteX51" fmla="*/ 2050689 w 3045600"/>
              <a:gd name="connsiteY51" fmla="*/ 2995003 h 3427200"/>
              <a:gd name="connsiteX52" fmla="*/ 1970955 w 3045600"/>
              <a:gd name="connsiteY52" fmla="*/ 3168191 h 3427200"/>
              <a:gd name="connsiteX53" fmla="*/ 1992827 w 3045600"/>
              <a:gd name="connsiteY53" fmla="*/ 3168191 h 3427200"/>
              <a:gd name="connsiteX54" fmla="*/ 2057251 w 3045600"/>
              <a:gd name="connsiteY54" fmla="*/ 3023636 h 3427200"/>
              <a:gd name="connsiteX55" fmla="*/ 2063116 w 3045600"/>
              <a:gd name="connsiteY55" fmla="*/ 3023636 h 3427200"/>
              <a:gd name="connsiteX56" fmla="*/ 2096620 w 3045600"/>
              <a:gd name="connsiteY56" fmla="*/ 3097604 h 3427200"/>
              <a:gd name="connsiteX57" fmla="*/ 2044624 w 3045600"/>
              <a:gd name="connsiteY57" fmla="*/ 3097604 h 3427200"/>
              <a:gd name="connsiteX58" fmla="*/ 2036373 w 3045600"/>
              <a:gd name="connsiteY58" fmla="*/ 3116195 h 3427200"/>
              <a:gd name="connsiteX59" fmla="*/ 2104773 w 3045600"/>
              <a:gd name="connsiteY59" fmla="*/ 3116195 h 3427200"/>
              <a:gd name="connsiteX60" fmla="*/ 2127738 w 3045600"/>
              <a:gd name="connsiteY60" fmla="*/ 3168191 h 3427200"/>
              <a:gd name="connsiteX61" fmla="*/ 2150903 w 3045600"/>
              <a:gd name="connsiteY61" fmla="*/ 3168191 h 3427200"/>
              <a:gd name="connsiteX62" fmla="*/ 2071269 w 3045600"/>
              <a:gd name="connsiteY62" fmla="*/ 2995003 h 3427200"/>
              <a:gd name="connsiteX63" fmla="*/ 1797370 w 3045600"/>
              <a:gd name="connsiteY63" fmla="*/ 2979792 h 3427200"/>
              <a:gd name="connsiteX64" fmla="*/ 1799259 w 3045600"/>
              <a:gd name="connsiteY64" fmla="*/ 2982079 h 3427200"/>
              <a:gd name="connsiteX65" fmla="*/ 1642078 w 3045600"/>
              <a:gd name="connsiteY65" fmla="*/ 3115698 h 3427200"/>
              <a:gd name="connsiteX66" fmla="*/ 1688506 w 3045600"/>
              <a:gd name="connsiteY66" fmla="*/ 3238977 h 3427200"/>
              <a:gd name="connsiteX67" fmla="*/ 1575368 w 3045600"/>
              <a:gd name="connsiteY67" fmla="*/ 3183601 h 3427200"/>
              <a:gd name="connsiteX68" fmla="*/ 1538881 w 3045600"/>
              <a:gd name="connsiteY68" fmla="*/ 3063006 h 3427200"/>
              <a:gd name="connsiteX69" fmla="*/ 1624083 w 3045600"/>
              <a:gd name="connsiteY69" fmla="*/ 3106551 h 3427200"/>
              <a:gd name="connsiteX70" fmla="*/ 1637902 w 3045600"/>
              <a:gd name="connsiteY70" fmla="*/ 3094820 h 3427200"/>
              <a:gd name="connsiteX71" fmla="*/ 1551507 w 3045600"/>
              <a:gd name="connsiteY71" fmla="*/ 3050678 h 3427200"/>
              <a:gd name="connsiteX72" fmla="*/ 1551905 w 3045600"/>
              <a:gd name="connsiteY72" fmla="*/ 3047795 h 3427200"/>
              <a:gd name="connsiteX73" fmla="*/ 1696944 w 3045600"/>
              <a:gd name="connsiteY73" fmla="*/ 2923347 h 3427200"/>
              <a:gd name="connsiteX74" fmla="*/ 1798960 w 3045600"/>
              <a:gd name="connsiteY74" fmla="*/ 2961698 h 3427200"/>
              <a:gd name="connsiteX75" fmla="*/ 1545741 w 3045600"/>
              <a:gd name="connsiteY75" fmla="*/ 3031788 h 3427200"/>
              <a:gd name="connsiteX76" fmla="*/ 1593362 w 3045600"/>
              <a:gd name="connsiteY76" fmla="*/ 2960903 h 3427200"/>
              <a:gd name="connsiteX77" fmla="*/ 1696944 w 3045600"/>
              <a:gd name="connsiteY77" fmla="*/ 2923347 h 3427200"/>
              <a:gd name="connsiteX78" fmla="*/ 1709844 w 3045600"/>
              <a:gd name="connsiteY78" fmla="*/ 2906757 h 3427200"/>
              <a:gd name="connsiteX79" fmla="*/ 1582327 w 3045600"/>
              <a:gd name="connsiteY79" fmla="*/ 2947879 h 3427200"/>
              <a:gd name="connsiteX80" fmla="*/ 1562344 w 3045600"/>
              <a:gd name="connsiteY80" fmla="*/ 3194636 h 3427200"/>
              <a:gd name="connsiteX81" fmla="*/ 1809101 w 3045600"/>
              <a:gd name="connsiteY81" fmla="*/ 3214619 h 3427200"/>
              <a:gd name="connsiteX82" fmla="*/ 1829084 w 3045600"/>
              <a:gd name="connsiteY82" fmla="*/ 2967862 h 3427200"/>
              <a:gd name="connsiteX83" fmla="*/ 1709844 w 3045600"/>
              <a:gd name="connsiteY83" fmla="*/ 2906757 h 3427200"/>
              <a:gd name="connsiteX84" fmla="*/ 0 w 3045600"/>
              <a:gd name="connsiteY84" fmla="*/ 0 h 3427200"/>
              <a:gd name="connsiteX85" fmla="*/ 3045600 w 3045600"/>
              <a:gd name="connsiteY85" fmla="*/ 0 h 3427200"/>
              <a:gd name="connsiteX86" fmla="*/ 3045600 w 3045600"/>
              <a:gd name="connsiteY86" fmla="*/ 3427200 h 3427200"/>
              <a:gd name="connsiteX87" fmla="*/ 0 w 3045600"/>
              <a:gd name="connsiteY87" fmla="*/ 3427200 h 34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3045600" h="3427200">
                <a:moveTo>
                  <a:pt x="1830377" y="2998583"/>
                </a:moveTo>
                <a:cubicBezTo>
                  <a:pt x="1870442" y="3063801"/>
                  <a:pt x="1858114" y="3150594"/>
                  <a:pt x="1798066" y="3201596"/>
                </a:cubicBezTo>
                <a:cubicBezTo>
                  <a:pt x="1775100" y="3221082"/>
                  <a:pt x="1748157" y="3232912"/>
                  <a:pt x="1720420" y="3237187"/>
                </a:cubicBezTo>
                <a:close/>
                <a:moveTo>
                  <a:pt x="1810294" y="2995103"/>
                </a:moveTo>
                <a:lnTo>
                  <a:pt x="1812183" y="2997389"/>
                </a:lnTo>
                <a:lnTo>
                  <a:pt x="1705606" y="3228638"/>
                </a:lnTo>
                <a:cubicBezTo>
                  <a:pt x="1704214" y="3228538"/>
                  <a:pt x="1704115" y="3228538"/>
                  <a:pt x="1702723" y="3228538"/>
                </a:cubicBezTo>
                <a:lnTo>
                  <a:pt x="1662160" y="3120967"/>
                </a:lnTo>
                <a:close/>
                <a:moveTo>
                  <a:pt x="2589141" y="2995003"/>
                </a:moveTo>
                <a:lnTo>
                  <a:pt x="2661021" y="3097405"/>
                </a:lnTo>
                <a:lnTo>
                  <a:pt x="2661021" y="3168191"/>
                </a:lnTo>
                <a:lnTo>
                  <a:pt x="2682197" y="3168191"/>
                </a:lnTo>
                <a:lnTo>
                  <a:pt x="2682197" y="3097405"/>
                </a:lnTo>
                <a:lnTo>
                  <a:pt x="2754077" y="2995003"/>
                </a:lnTo>
                <a:lnTo>
                  <a:pt x="2729719" y="2995003"/>
                </a:lnTo>
                <a:lnTo>
                  <a:pt x="2674144" y="3075234"/>
                </a:lnTo>
                <a:lnTo>
                  <a:pt x="2669273" y="3075234"/>
                </a:lnTo>
                <a:lnTo>
                  <a:pt x="2613499" y="2995003"/>
                </a:lnTo>
                <a:close/>
                <a:moveTo>
                  <a:pt x="2394280" y="2995003"/>
                </a:moveTo>
                <a:lnTo>
                  <a:pt x="2394280" y="3168191"/>
                </a:lnTo>
                <a:lnTo>
                  <a:pt x="2415556" y="3168191"/>
                </a:lnTo>
                <a:lnTo>
                  <a:pt x="2415556" y="3017571"/>
                </a:lnTo>
                <a:lnTo>
                  <a:pt x="2419532" y="3013595"/>
                </a:lnTo>
                <a:lnTo>
                  <a:pt x="2488827" y="3013595"/>
                </a:lnTo>
                <a:cubicBezTo>
                  <a:pt x="2498968" y="3013595"/>
                  <a:pt x="2510600" y="3014887"/>
                  <a:pt x="2520243" y="3024531"/>
                </a:cubicBezTo>
                <a:cubicBezTo>
                  <a:pt x="2525711" y="3030297"/>
                  <a:pt x="2528694" y="3037654"/>
                  <a:pt x="2528694" y="3045309"/>
                </a:cubicBezTo>
                <a:cubicBezTo>
                  <a:pt x="2528694" y="3063205"/>
                  <a:pt x="2513682" y="3077223"/>
                  <a:pt x="2494593" y="3077223"/>
                </a:cubicBezTo>
                <a:lnTo>
                  <a:pt x="2434047" y="3077223"/>
                </a:lnTo>
                <a:lnTo>
                  <a:pt x="2434047" y="3095814"/>
                </a:lnTo>
                <a:lnTo>
                  <a:pt x="2481868" y="3095814"/>
                </a:lnTo>
                <a:lnTo>
                  <a:pt x="2531378" y="3168191"/>
                </a:lnTo>
                <a:lnTo>
                  <a:pt x="2555636" y="3168191"/>
                </a:lnTo>
                <a:lnTo>
                  <a:pt x="2504137" y="3094323"/>
                </a:lnTo>
                <a:lnTo>
                  <a:pt x="2505529" y="3094025"/>
                </a:lnTo>
                <a:cubicBezTo>
                  <a:pt x="2508015" y="3093527"/>
                  <a:pt x="2509506" y="3093130"/>
                  <a:pt x="2510103" y="3092931"/>
                </a:cubicBezTo>
                <a:cubicBezTo>
                  <a:pt x="2534560" y="3086270"/>
                  <a:pt x="2549771" y="3068076"/>
                  <a:pt x="2549771" y="3045508"/>
                </a:cubicBezTo>
                <a:cubicBezTo>
                  <a:pt x="2549771" y="3032782"/>
                  <a:pt x="2545297" y="3021250"/>
                  <a:pt x="2536747" y="3012203"/>
                </a:cubicBezTo>
                <a:cubicBezTo>
                  <a:pt x="2525711" y="3000670"/>
                  <a:pt x="2510003" y="2995003"/>
                  <a:pt x="2488827" y="2995003"/>
                </a:cubicBezTo>
                <a:close/>
                <a:moveTo>
                  <a:pt x="2202104" y="2995003"/>
                </a:moveTo>
                <a:lnTo>
                  <a:pt x="2202104" y="3168191"/>
                </a:lnTo>
                <a:lnTo>
                  <a:pt x="2223380" y="3168191"/>
                </a:lnTo>
                <a:lnTo>
                  <a:pt x="2223380" y="3099691"/>
                </a:lnTo>
                <a:lnTo>
                  <a:pt x="2227356" y="3095715"/>
                </a:lnTo>
                <a:lnTo>
                  <a:pt x="2316137" y="3095715"/>
                </a:lnTo>
                <a:lnTo>
                  <a:pt x="2316137" y="3077123"/>
                </a:lnTo>
                <a:lnTo>
                  <a:pt x="2227356" y="3077123"/>
                </a:lnTo>
                <a:lnTo>
                  <a:pt x="2223380" y="3073147"/>
                </a:lnTo>
                <a:lnTo>
                  <a:pt x="2223380" y="3019063"/>
                </a:lnTo>
                <a:lnTo>
                  <a:pt x="2227356" y="3015086"/>
                </a:lnTo>
                <a:lnTo>
                  <a:pt x="2337114" y="3015086"/>
                </a:lnTo>
                <a:lnTo>
                  <a:pt x="2337114" y="2995003"/>
                </a:lnTo>
                <a:close/>
                <a:moveTo>
                  <a:pt x="2050689" y="2995003"/>
                </a:moveTo>
                <a:lnTo>
                  <a:pt x="1970955" y="3168191"/>
                </a:lnTo>
                <a:lnTo>
                  <a:pt x="1992827" y="3168191"/>
                </a:lnTo>
                <a:lnTo>
                  <a:pt x="2057251" y="3023636"/>
                </a:lnTo>
                <a:lnTo>
                  <a:pt x="2063116" y="3023636"/>
                </a:lnTo>
                <a:lnTo>
                  <a:pt x="2096620" y="3097604"/>
                </a:lnTo>
                <a:lnTo>
                  <a:pt x="2044624" y="3097604"/>
                </a:lnTo>
                <a:lnTo>
                  <a:pt x="2036373" y="3116195"/>
                </a:lnTo>
                <a:lnTo>
                  <a:pt x="2104773" y="3116195"/>
                </a:lnTo>
                <a:lnTo>
                  <a:pt x="2127738" y="3168191"/>
                </a:lnTo>
                <a:lnTo>
                  <a:pt x="2150903" y="3168191"/>
                </a:lnTo>
                <a:lnTo>
                  <a:pt x="2071269" y="2995003"/>
                </a:lnTo>
                <a:close/>
                <a:moveTo>
                  <a:pt x="1797370" y="2979792"/>
                </a:moveTo>
                <a:lnTo>
                  <a:pt x="1799259" y="2982079"/>
                </a:lnTo>
                <a:lnTo>
                  <a:pt x="1642078" y="3115698"/>
                </a:lnTo>
                <a:lnTo>
                  <a:pt x="1688506" y="3238977"/>
                </a:lnTo>
                <a:cubicBezTo>
                  <a:pt x="1646253" y="3237088"/>
                  <a:pt x="1604796" y="3218298"/>
                  <a:pt x="1575368" y="3183601"/>
                </a:cubicBezTo>
                <a:cubicBezTo>
                  <a:pt x="1545840" y="3148904"/>
                  <a:pt x="1534009" y="3105060"/>
                  <a:pt x="1538881" y="3063006"/>
                </a:cubicBezTo>
                <a:lnTo>
                  <a:pt x="1624083" y="3106551"/>
                </a:lnTo>
                <a:lnTo>
                  <a:pt x="1637902" y="3094820"/>
                </a:lnTo>
                <a:lnTo>
                  <a:pt x="1551507" y="3050678"/>
                </a:lnTo>
                <a:cubicBezTo>
                  <a:pt x="1551706" y="3049286"/>
                  <a:pt x="1551706" y="3049187"/>
                  <a:pt x="1551905" y="3047795"/>
                </a:cubicBezTo>
                <a:close/>
                <a:moveTo>
                  <a:pt x="1696944" y="2923347"/>
                </a:moveTo>
                <a:cubicBezTo>
                  <a:pt x="1733592" y="2923671"/>
                  <a:pt x="1769979" y="2936645"/>
                  <a:pt x="1798960" y="2961698"/>
                </a:cubicBezTo>
                <a:lnTo>
                  <a:pt x="1545741" y="3031788"/>
                </a:lnTo>
                <a:cubicBezTo>
                  <a:pt x="1554490" y="3005045"/>
                  <a:pt x="1570496" y="2980389"/>
                  <a:pt x="1593362" y="2960903"/>
                </a:cubicBezTo>
                <a:cubicBezTo>
                  <a:pt x="1623386" y="2935352"/>
                  <a:pt x="1660296" y="2923024"/>
                  <a:pt x="1696944" y="2923347"/>
                </a:cubicBezTo>
                <a:close/>
                <a:moveTo>
                  <a:pt x="1709844" y="2906757"/>
                </a:moveTo>
                <a:cubicBezTo>
                  <a:pt x="1665192" y="2903141"/>
                  <a:pt x="1619161" y="2916562"/>
                  <a:pt x="1582327" y="2947879"/>
                </a:cubicBezTo>
                <a:cubicBezTo>
                  <a:pt x="1508658" y="3010513"/>
                  <a:pt x="1499710" y="3120967"/>
                  <a:pt x="1562344" y="3194636"/>
                </a:cubicBezTo>
                <a:cubicBezTo>
                  <a:pt x="1624978" y="3268306"/>
                  <a:pt x="1735432" y="3277253"/>
                  <a:pt x="1809101" y="3214619"/>
                </a:cubicBezTo>
                <a:cubicBezTo>
                  <a:pt x="1882770" y="3151986"/>
                  <a:pt x="1891718" y="3041531"/>
                  <a:pt x="1829084" y="2967862"/>
                </a:cubicBezTo>
                <a:cubicBezTo>
                  <a:pt x="1797767" y="2931028"/>
                  <a:pt x="1754495" y="2910373"/>
                  <a:pt x="1709844" y="2906757"/>
                </a:cubicBezTo>
                <a:close/>
                <a:moveTo>
                  <a:pt x="0" y="0"/>
                </a:moveTo>
                <a:lnTo>
                  <a:pt x="3045600" y="0"/>
                </a:lnTo>
                <a:lnTo>
                  <a:pt x="3045600" y="3427200"/>
                </a:lnTo>
                <a:lnTo>
                  <a:pt x="0" y="3427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766454" y="1524177"/>
            <a:ext cx="4569134" cy="456547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4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add text for the agenda
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  <a:p>
            <a:pPr lvl="0"/>
            <a:r>
              <a:rPr lang="en-GB" dirty="0"/>
              <a:t>Click to add text for the agenda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6"/>
            </p:custDataLst>
          </p:nvPr>
        </p:nvSpPr>
        <p:spPr>
          <a:xfrm>
            <a:off x="6107658" y="0"/>
            <a:ext cx="3038475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GB" dirty="0"/>
              <a:t>Click on icon to add picture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  <p:custDataLst>
              <p:tags r:id="rId7"/>
            </p:custDataLst>
          </p:nvPr>
        </p:nvSpPr>
        <p:spPr>
          <a:xfrm>
            <a:off x="9146400" y="0"/>
            <a:ext cx="3045600" cy="343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dirty="0"/>
              <a:t>Click on icon to add pictu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38DA4C9-67CA-194C-8CAD-1347E4EF9121}"/>
              </a:ext>
            </a:extLst>
          </p:cNvPr>
          <p:cNvSpPr>
            <a:spLocks noGrp="1"/>
          </p:cNvSpPr>
          <p:nvPr>
            <p:ph type="dt" sz="half" idx="2"/>
            <p:custDataLst>
              <p:tags r:id="rId8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9CC19F86-85C8-4226-909B-2A8569825518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17BB8AF5-C1C9-6C41-AEA3-9B6BCC4D3BD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FBC960E-1341-3B4D-8C3D-966445E92C1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3802B6-A9D7-D345-806A-862CC38DA7E5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12310246" y="-2"/>
            <a:ext cx="2106398" cy="2220688"/>
            <a:chOff x="12310246" y="-2"/>
            <a:chExt cx="2106398" cy="2220688"/>
          </a:xfrm>
        </p:grpSpPr>
        <p:sp>
          <p:nvSpPr>
            <p:cNvPr id="4" name="textruta 5">
              <a:extLst>
                <a:ext uri="{FF2B5EF4-FFF2-40B4-BE49-F238E27FC236}">
                  <a16:creationId xmlns:a16="http://schemas.microsoft.com/office/drawing/2014/main" id="{D2DD5221-C22D-D85E-7778-F6E13F5BCD77}"/>
                </a:ext>
              </a:extLst>
            </p:cNvPr>
            <p:cNvSpPr txBox="1"/>
            <p:nvPr userDrawn="1"/>
          </p:nvSpPr>
          <p:spPr>
            <a:xfrm>
              <a:off x="12310246" y="-2"/>
              <a:ext cx="2106398" cy="222068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180000" tIns="180000" rIns="180000" bIns="180000" rtlCol="0" anchor="t" anchorCtr="0">
              <a:noAutofit/>
            </a:bodyPr>
            <a:lstStyle/>
            <a:p>
              <a:pPr algn="l"/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hange the </a:t>
              </a:r>
              <a:b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color of the logo</a:t>
              </a:r>
            </a:p>
            <a:p>
              <a:pPr algn="l"/>
              <a:endParaRPr lang="en-US" sz="900" baseline="0" noProof="0" dirty="0">
                <a:solidFill>
                  <a:schemeClr val="tx1"/>
                </a:solidFill>
                <a:latin typeface="+mn-lt"/>
                <a:cs typeface="Verdana" panose="020B0604030504040204" pitchFamily="34" charset="0"/>
              </a:endParaRPr>
            </a:p>
            <a:p>
              <a:pPr algn="l"/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If you need to change the color of the logo, right click outside the work area,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Format Background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from context menu, and select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Solid fill. 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You may </a:t>
              </a:r>
              <a:r>
                <a:rPr lang="en-US" sz="900" b="1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only</a:t>
              </a: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 </a:t>
              </a:r>
              <a:b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</a:br>
              <a:r>
                <a:rPr lang="en-US" sz="900" baseline="0" noProof="0" dirty="0">
                  <a:solidFill>
                    <a:schemeClr val="tx1"/>
                  </a:solidFill>
                  <a:latin typeface="+mn-lt"/>
                  <a:cs typeface="Verdana" panose="020B0604030504040204" pitchFamily="34" charset="0"/>
                </a:rPr>
                <a:t>use black or white.</a:t>
              </a:r>
            </a:p>
          </p:txBody>
        </p:sp>
        <p:sp>
          <p:nvSpPr>
            <p:cNvPr id="5" name="Rektangel 17">
              <a:extLst>
                <a:ext uri="{FF2B5EF4-FFF2-40B4-BE49-F238E27FC236}">
                  <a16:creationId xmlns:a16="http://schemas.microsoft.com/office/drawing/2014/main" id="{96D973B9-1397-F6C7-F98A-4B1CF9CE1BF0}"/>
                </a:ext>
              </a:extLst>
            </p:cNvPr>
            <p:cNvSpPr/>
            <p:nvPr userDrawn="1"/>
          </p:nvSpPr>
          <p:spPr>
            <a:xfrm>
              <a:off x="12499530" y="1712578"/>
              <a:ext cx="327248" cy="3272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6" name="Rektangel 18">
              <a:extLst>
                <a:ext uri="{FF2B5EF4-FFF2-40B4-BE49-F238E27FC236}">
                  <a16:creationId xmlns:a16="http://schemas.microsoft.com/office/drawing/2014/main" id="{3C455AAC-9778-6B26-4F13-4EECDB11B379}"/>
                </a:ext>
              </a:extLst>
            </p:cNvPr>
            <p:cNvSpPr/>
            <p:nvPr userDrawn="1"/>
          </p:nvSpPr>
          <p:spPr>
            <a:xfrm>
              <a:off x="12910432" y="1712578"/>
              <a:ext cx="327248" cy="3272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89842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4" imgH="385" progId="TCLayout.ActiveDocument.1">
                  <p:embed/>
                </p:oleObj>
              </mc:Choice>
              <mc:Fallback>
                <p:oleObj name="think-cell Slide" r:id="rId9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66313FF9-DCC2-45BD-B3FE-9BDB3ED8748E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731763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5FA1FD92-92B4-B634-7DB9-0A209C69C9E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2673625" y="-2673625"/>
            <a:ext cx="6858001" cy="12205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7B34E9-7018-2C49-FD4C-0D63C33A6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11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84" imgH="385" progId="TCLayout.ActiveDocument.1">
                  <p:embed/>
                </p:oleObj>
              </mc:Choice>
              <mc:Fallback>
                <p:oleObj name="think-cell Slide" r:id="rId11" imgW="384" imgH="38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7B34E9-7018-2C49-FD4C-0D63C33A6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66800" y="1703881"/>
            <a:ext cx="8360555" cy="4381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a </a:t>
            </a:r>
            <a:r>
              <a:rPr lang="en-GB" dirty="0" err="1"/>
              <a:t>SUBheading</a:t>
            </a:r>
            <a:r>
              <a:rPr lang="en-GB" dirty="0"/>
              <a:t> or chapter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766800" y="2197080"/>
            <a:ext cx="8362143" cy="1081088"/>
          </a:xfrm>
          <a:prstGeom prst="rect">
            <a:avLst/>
          </a:prstGeom>
        </p:spPr>
        <p:txBody>
          <a:bodyPr vert="horz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a headline of maximum two lin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F5CE0469-7239-8141-B3EE-BC250668B74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232FF492-0CEF-4099-8BAA-42D5E7159779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7453B43-D084-7E4A-97BF-5B7E6E20506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08ACA3-040E-3F41-8A85-27B30B6763AC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Grupp 26">
            <a:extLst>
              <a:ext uri="{FF2B5EF4-FFF2-40B4-BE49-F238E27FC236}">
                <a16:creationId xmlns:a16="http://schemas.microsoft.com/office/drawing/2014/main" id="{7301F1F6-0CCE-AFD1-B5E6-BFD6DA60F508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10667047" y="6336982"/>
            <a:ext cx="1232535" cy="349954"/>
            <a:chOff x="2157473" y="2308603"/>
            <a:chExt cx="7872352" cy="2235200"/>
          </a:xfrm>
        </p:grpSpPr>
        <p:sp>
          <p:nvSpPr>
            <p:cNvPr id="6" name="Frihandsfigur 13">
              <a:extLst>
                <a:ext uri="{FF2B5EF4-FFF2-40B4-BE49-F238E27FC236}">
                  <a16:creationId xmlns:a16="http://schemas.microsoft.com/office/drawing/2014/main" id="{6A892377-5093-9B34-7554-C61328E2494A}"/>
                </a:ext>
              </a:extLst>
            </p:cNvPr>
            <p:cNvSpPr/>
            <p:nvPr userDrawn="1"/>
          </p:nvSpPr>
          <p:spPr>
            <a:xfrm>
              <a:off x="6510022" y="2875914"/>
              <a:ext cx="857248" cy="1104902"/>
            </a:xfrm>
            <a:custGeom>
              <a:avLst/>
              <a:gdLst>
                <a:gd name="connsiteX0" fmla="*/ 0 w 857250"/>
                <a:gd name="connsiteY0" fmla="*/ 1106170 h 1104900"/>
                <a:gd name="connsiteX1" fmla="*/ 0 w 857250"/>
                <a:gd name="connsiteY1" fmla="*/ 0 h 1104900"/>
                <a:gd name="connsiteX2" fmla="*/ 862330 w 857250"/>
                <a:gd name="connsiteY2" fmla="*/ 0 h 1104900"/>
                <a:gd name="connsiteX3" fmla="*/ 862330 w 857250"/>
                <a:gd name="connsiteY3" fmla="*/ 128270 h 1104900"/>
                <a:gd name="connsiteX4" fmla="*/ 161290 w 857250"/>
                <a:gd name="connsiteY4" fmla="*/ 128270 h 1104900"/>
                <a:gd name="connsiteX5" fmla="*/ 135890 w 857250"/>
                <a:gd name="connsiteY5" fmla="*/ 153670 h 1104900"/>
                <a:gd name="connsiteX6" fmla="*/ 135890 w 857250"/>
                <a:gd name="connsiteY6" fmla="*/ 499110 h 1104900"/>
                <a:gd name="connsiteX7" fmla="*/ 161290 w 857250"/>
                <a:gd name="connsiteY7" fmla="*/ 524510 h 1104900"/>
                <a:gd name="connsiteX8" fmla="*/ 728345 w 857250"/>
                <a:gd name="connsiteY8" fmla="*/ 524510 h 1104900"/>
                <a:gd name="connsiteX9" fmla="*/ 728345 w 857250"/>
                <a:gd name="connsiteY9" fmla="*/ 643255 h 1104900"/>
                <a:gd name="connsiteX10" fmla="*/ 161290 w 857250"/>
                <a:gd name="connsiteY10" fmla="*/ 643255 h 1104900"/>
                <a:gd name="connsiteX11" fmla="*/ 135890 w 857250"/>
                <a:gd name="connsiteY11" fmla="*/ 668655 h 1104900"/>
                <a:gd name="connsiteX12" fmla="*/ 135890 w 857250"/>
                <a:gd name="connsiteY12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57250" h="1104900">
                  <a:moveTo>
                    <a:pt x="0" y="1106170"/>
                  </a:moveTo>
                  <a:lnTo>
                    <a:pt x="0" y="0"/>
                  </a:lnTo>
                  <a:lnTo>
                    <a:pt x="862330" y="0"/>
                  </a:lnTo>
                  <a:lnTo>
                    <a:pt x="862330" y="128270"/>
                  </a:lnTo>
                  <a:lnTo>
                    <a:pt x="161290" y="128270"/>
                  </a:lnTo>
                  <a:lnTo>
                    <a:pt x="135890" y="153670"/>
                  </a:lnTo>
                  <a:lnTo>
                    <a:pt x="135890" y="499110"/>
                  </a:lnTo>
                  <a:lnTo>
                    <a:pt x="161290" y="524510"/>
                  </a:lnTo>
                  <a:lnTo>
                    <a:pt x="728345" y="524510"/>
                  </a:lnTo>
                  <a:lnTo>
                    <a:pt x="728345" y="643255"/>
                  </a:lnTo>
                  <a:lnTo>
                    <a:pt x="161290" y="643255"/>
                  </a:lnTo>
                  <a:lnTo>
                    <a:pt x="135890" y="668655"/>
                  </a:lnTo>
                  <a:lnTo>
                    <a:pt x="13589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ihandsfigur 14">
              <a:extLst>
                <a:ext uri="{FF2B5EF4-FFF2-40B4-BE49-F238E27FC236}">
                  <a16:creationId xmlns:a16="http://schemas.microsoft.com/office/drawing/2014/main" id="{2305A998-684A-7BBA-AB65-21AA84E6EE3A}"/>
                </a:ext>
              </a:extLst>
            </p:cNvPr>
            <p:cNvSpPr/>
            <p:nvPr userDrawn="1"/>
          </p:nvSpPr>
          <p:spPr>
            <a:xfrm>
              <a:off x="5033645" y="2875914"/>
              <a:ext cx="1149350" cy="1104902"/>
            </a:xfrm>
            <a:custGeom>
              <a:avLst/>
              <a:gdLst>
                <a:gd name="connsiteX0" fmla="*/ 1001395 w 1149350"/>
                <a:gd name="connsiteY0" fmla="*/ 1106170 h 1104900"/>
                <a:gd name="connsiteX1" fmla="*/ 854710 w 1149350"/>
                <a:gd name="connsiteY1" fmla="*/ 774065 h 1104900"/>
                <a:gd name="connsiteX2" fmla="*/ 417830 w 1149350"/>
                <a:gd name="connsiteY2" fmla="*/ 774065 h 1104900"/>
                <a:gd name="connsiteX3" fmla="*/ 470535 w 1149350"/>
                <a:gd name="connsiteY3" fmla="*/ 655320 h 1104900"/>
                <a:gd name="connsiteX4" fmla="*/ 802640 w 1149350"/>
                <a:gd name="connsiteY4" fmla="*/ 655320 h 1104900"/>
                <a:gd name="connsiteX5" fmla="*/ 588645 w 1149350"/>
                <a:gd name="connsiteY5" fmla="*/ 182880 h 1104900"/>
                <a:gd name="connsiteX6" fmla="*/ 551180 w 1149350"/>
                <a:gd name="connsiteY6" fmla="*/ 182880 h 1104900"/>
                <a:gd name="connsiteX7" fmla="*/ 139700 w 1149350"/>
                <a:gd name="connsiteY7" fmla="*/ 1106170 h 1104900"/>
                <a:gd name="connsiteX8" fmla="*/ 0 w 1149350"/>
                <a:gd name="connsiteY8" fmla="*/ 1106170 h 1104900"/>
                <a:gd name="connsiteX9" fmla="*/ 509270 w 1149350"/>
                <a:gd name="connsiteY9" fmla="*/ 0 h 1104900"/>
                <a:gd name="connsiteX10" fmla="*/ 640715 w 1149350"/>
                <a:gd name="connsiteY10" fmla="*/ 0 h 1104900"/>
                <a:gd name="connsiteX11" fmla="*/ 1149350 w 1149350"/>
                <a:gd name="connsiteY11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9350" h="1104900">
                  <a:moveTo>
                    <a:pt x="1001395" y="1106170"/>
                  </a:moveTo>
                  <a:lnTo>
                    <a:pt x="854710" y="774065"/>
                  </a:lnTo>
                  <a:lnTo>
                    <a:pt x="417830" y="774065"/>
                  </a:lnTo>
                  <a:lnTo>
                    <a:pt x="470535" y="655320"/>
                  </a:lnTo>
                  <a:lnTo>
                    <a:pt x="802640" y="655320"/>
                  </a:lnTo>
                  <a:lnTo>
                    <a:pt x="588645" y="182880"/>
                  </a:lnTo>
                  <a:lnTo>
                    <a:pt x="551180" y="182880"/>
                  </a:lnTo>
                  <a:lnTo>
                    <a:pt x="139700" y="1106170"/>
                  </a:lnTo>
                  <a:lnTo>
                    <a:pt x="0" y="1106170"/>
                  </a:lnTo>
                  <a:lnTo>
                    <a:pt x="509270" y="0"/>
                  </a:lnTo>
                  <a:lnTo>
                    <a:pt x="640715" y="0"/>
                  </a:lnTo>
                  <a:lnTo>
                    <a:pt x="114935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" name="Frihandsfigur 15">
              <a:extLst>
                <a:ext uri="{FF2B5EF4-FFF2-40B4-BE49-F238E27FC236}">
                  <a16:creationId xmlns:a16="http://schemas.microsoft.com/office/drawing/2014/main" id="{CF44A4A1-8F3B-926A-70C8-B9FF95198347}"/>
                </a:ext>
              </a:extLst>
            </p:cNvPr>
            <p:cNvSpPr/>
            <p:nvPr userDrawn="1"/>
          </p:nvSpPr>
          <p:spPr>
            <a:xfrm>
              <a:off x="7737474" y="2875914"/>
              <a:ext cx="1028697" cy="1104902"/>
            </a:xfrm>
            <a:custGeom>
              <a:avLst/>
              <a:gdLst>
                <a:gd name="connsiteX0" fmla="*/ 875665 w 1028700"/>
                <a:gd name="connsiteY0" fmla="*/ 1106170 h 1104900"/>
                <a:gd name="connsiteX1" fmla="*/ 559435 w 1028700"/>
                <a:gd name="connsiteY1" fmla="*/ 643890 h 1104900"/>
                <a:gd name="connsiteX2" fmla="*/ 254000 w 1028700"/>
                <a:gd name="connsiteY2" fmla="*/ 643890 h 1104900"/>
                <a:gd name="connsiteX3" fmla="*/ 254000 w 1028700"/>
                <a:gd name="connsiteY3" fmla="*/ 525145 h 1104900"/>
                <a:gd name="connsiteX4" fmla="*/ 640715 w 1028700"/>
                <a:gd name="connsiteY4" fmla="*/ 525145 h 1104900"/>
                <a:gd name="connsiteX5" fmla="*/ 858520 w 1028700"/>
                <a:gd name="connsiteY5" fmla="*/ 321310 h 1104900"/>
                <a:gd name="connsiteX6" fmla="*/ 804545 w 1028700"/>
                <a:gd name="connsiteY6" fmla="*/ 188595 h 1104900"/>
                <a:gd name="connsiteX7" fmla="*/ 603885 w 1028700"/>
                <a:gd name="connsiteY7" fmla="*/ 118745 h 1104900"/>
                <a:gd name="connsiteX8" fmla="*/ 161290 w 1028700"/>
                <a:gd name="connsiteY8" fmla="*/ 118745 h 1104900"/>
                <a:gd name="connsiteX9" fmla="*/ 135890 w 1028700"/>
                <a:gd name="connsiteY9" fmla="*/ 144145 h 1104900"/>
                <a:gd name="connsiteX10" fmla="*/ 135890 w 1028700"/>
                <a:gd name="connsiteY10" fmla="*/ 1106170 h 1104900"/>
                <a:gd name="connsiteX11" fmla="*/ 0 w 1028700"/>
                <a:gd name="connsiteY11" fmla="*/ 1106170 h 1104900"/>
                <a:gd name="connsiteX12" fmla="*/ 0 w 1028700"/>
                <a:gd name="connsiteY12" fmla="*/ 0 h 1104900"/>
                <a:gd name="connsiteX13" fmla="*/ 603885 w 1028700"/>
                <a:gd name="connsiteY13" fmla="*/ 0 h 1104900"/>
                <a:gd name="connsiteX14" fmla="*/ 909955 w 1028700"/>
                <a:gd name="connsiteY14" fmla="*/ 109855 h 1104900"/>
                <a:gd name="connsiteX15" fmla="*/ 993140 w 1028700"/>
                <a:gd name="connsiteY15" fmla="*/ 322580 h 1104900"/>
                <a:gd name="connsiteX16" fmla="*/ 739775 w 1028700"/>
                <a:gd name="connsiteY16" fmla="*/ 625475 h 1104900"/>
                <a:gd name="connsiteX17" fmla="*/ 710565 w 1028700"/>
                <a:gd name="connsiteY17" fmla="*/ 632460 h 1104900"/>
                <a:gd name="connsiteX18" fmla="*/ 701675 w 1028700"/>
                <a:gd name="connsiteY18" fmla="*/ 634365 h 1104900"/>
                <a:gd name="connsiteX19" fmla="*/ 1030605 w 1028700"/>
                <a:gd name="connsiteY19" fmla="*/ 1106170 h 1104900"/>
                <a:gd name="connsiteX20" fmla="*/ 875665 w 1028700"/>
                <a:gd name="connsiteY20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104900">
                  <a:moveTo>
                    <a:pt x="875665" y="1106170"/>
                  </a:moveTo>
                  <a:lnTo>
                    <a:pt x="559435" y="643890"/>
                  </a:lnTo>
                  <a:lnTo>
                    <a:pt x="254000" y="643890"/>
                  </a:lnTo>
                  <a:lnTo>
                    <a:pt x="254000" y="525145"/>
                  </a:lnTo>
                  <a:lnTo>
                    <a:pt x="640715" y="525145"/>
                  </a:lnTo>
                  <a:cubicBezTo>
                    <a:pt x="762635" y="525145"/>
                    <a:pt x="858520" y="435610"/>
                    <a:pt x="858520" y="321310"/>
                  </a:cubicBezTo>
                  <a:cubicBezTo>
                    <a:pt x="858520" y="272415"/>
                    <a:pt x="839470" y="225425"/>
                    <a:pt x="804545" y="188595"/>
                  </a:cubicBezTo>
                  <a:cubicBezTo>
                    <a:pt x="742950" y="127000"/>
                    <a:pt x="668655" y="118745"/>
                    <a:pt x="603885" y="118745"/>
                  </a:cubicBezTo>
                  <a:lnTo>
                    <a:pt x="161290" y="118745"/>
                  </a:lnTo>
                  <a:lnTo>
                    <a:pt x="135890" y="144145"/>
                  </a:lnTo>
                  <a:lnTo>
                    <a:pt x="135890" y="1106170"/>
                  </a:lnTo>
                  <a:lnTo>
                    <a:pt x="0" y="1106170"/>
                  </a:lnTo>
                  <a:lnTo>
                    <a:pt x="0" y="0"/>
                  </a:lnTo>
                  <a:lnTo>
                    <a:pt x="603885" y="0"/>
                  </a:lnTo>
                  <a:cubicBezTo>
                    <a:pt x="739140" y="0"/>
                    <a:pt x="839470" y="36195"/>
                    <a:pt x="909955" y="109855"/>
                  </a:cubicBezTo>
                  <a:cubicBezTo>
                    <a:pt x="964565" y="167640"/>
                    <a:pt x="993140" y="241300"/>
                    <a:pt x="993140" y="322580"/>
                  </a:cubicBezTo>
                  <a:cubicBezTo>
                    <a:pt x="993140" y="466725"/>
                    <a:pt x="895985" y="582930"/>
                    <a:pt x="739775" y="625475"/>
                  </a:cubicBezTo>
                  <a:cubicBezTo>
                    <a:pt x="735965" y="626745"/>
                    <a:pt x="726440" y="629285"/>
                    <a:pt x="710565" y="632460"/>
                  </a:cubicBezTo>
                  <a:lnTo>
                    <a:pt x="701675" y="634365"/>
                  </a:lnTo>
                  <a:lnTo>
                    <a:pt x="1030605" y="1106170"/>
                  </a:lnTo>
                  <a:lnTo>
                    <a:pt x="875665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" name="Frihandsfigur 16">
              <a:extLst>
                <a:ext uri="{FF2B5EF4-FFF2-40B4-BE49-F238E27FC236}">
                  <a16:creationId xmlns:a16="http://schemas.microsoft.com/office/drawing/2014/main" id="{F60DE161-3747-C4FA-2181-CBA35AFB9EED}"/>
                </a:ext>
              </a:extLst>
            </p:cNvPr>
            <p:cNvSpPr/>
            <p:nvPr userDrawn="1"/>
          </p:nvSpPr>
          <p:spPr>
            <a:xfrm>
              <a:off x="8982075" y="2875914"/>
              <a:ext cx="1047750" cy="1104902"/>
            </a:xfrm>
            <a:custGeom>
              <a:avLst/>
              <a:gdLst>
                <a:gd name="connsiteX0" fmla="*/ 459105 w 1047750"/>
                <a:gd name="connsiteY0" fmla="*/ 1106170 h 1104900"/>
                <a:gd name="connsiteX1" fmla="*/ 459105 w 1047750"/>
                <a:gd name="connsiteY1" fmla="*/ 654050 h 1104900"/>
                <a:gd name="connsiteX2" fmla="*/ 0 w 1047750"/>
                <a:gd name="connsiteY2" fmla="*/ 0 h 1104900"/>
                <a:gd name="connsiteX3" fmla="*/ 155575 w 1047750"/>
                <a:gd name="connsiteY3" fmla="*/ 0 h 1104900"/>
                <a:gd name="connsiteX4" fmla="*/ 511810 w 1047750"/>
                <a:gd name="connsiteY4" fmla="*/ 512445 h 1104900"/>
                <a:gd name="connsiteX5" fmla="*/ 542925 w 1047750"/>
                <a:gd name="connsiteY5" fmla="*/ 512445 h 1104900"/>
                <a:gd name="connsiteX6" fmla="*/ 897890 w 1047750"/>
                <a:gd name="connsiteY6" fmla="*/ 0 h 1104900"/>
                <a:gd name="connsiteX7" fmla="*/ 1053465 w 1047750"/>
                <a:gd name="connsiteY7" fmla="*/ 0 h 1104900"/>
                <a:gd name="connsiteX8" fmla="*/ 594360 w 1047750"/>
                <a:gd name="connsiteY8" fmla="*/ 654050 h 1104900"/>
                <a:gd name="connsiteX9" fmla="*/ 594360 w 1047750"/>
                <a:gd name="connsiteY9" fmla="*/ 110617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0" h="1104900">
                  <a:moveTo>
                    <a:pt x="459105" y="1106170"/>
                  </a:moveTo>
                  <a:lnTo>
                    <a:pt x="459105" y="654050"/>
                  </a:lnTo>
                  <a:lnTo>
                    <a:pt x="0" y="0"/>
                  </a:lnTo>
                  <a:lnTo>
                    <a:pt x="155575" y="0"/>
                  </a:lnTo>
                  <a:lnTo>
                    <a:pt x="511810" y="512445"/>
                  </a:lnTo>
                  <a:lnTo>
                    <a:pt x="542925" y="512445"/>
                  </a:lnTo>
                  <a:lnTo>
                    <a:pt x="897890" y="0"/>
                  </a:lnTo>
                  <a:lnTo>
                    <a:pt x="1053465" y="0"/>
                  </a:lnTo>
                  <a:lnTo>
                    <a:pt x="594360" y="654050"/>
                  </a:lnTo>
                  <a:lnTo>
                    <a:pt x="594360" y="1106170"/>
                  </a:ln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ihandsfigur 25">
              <a:extLst>
                <a:ext uri="{FF2B5EF4-FFF2-40B4-BE49-F238E27FC236}">
                  <a16:creationId xmlns:a16="http://schemas.microsoft.com/office/drawing/2014/main" id="{5937E4C1-E0DD-FCD7-570E-A0F206CA3ACB}"/>
                </a:ext>
              </a:extLst>
            </p:cNvPr>
            <p:cNvSpPr/>
            <p:nvPr userDrawn="1"/>
          </p:nvSpPr>
          <p:spPr>
            <a:xfrm>
              <a:off x="2157473" y="2308603"/>
              <a:ext cx="2235199" cy="2235200"/>
            </a:xfrm>
            <a:custGeom>
              <a:avLst/>
              <a:gdLst>
                <a:gd name="connsiteX0" fmla="*/ 1970027 w 2235200"/>
                <a:gd name="connsiteY0" fmla="*/ 393957 h 2235200"/>
                <a:gd name="connsiteX1" fmla="*/ 393957 w 2235200"/>
                <a:gd name="connsiteY1" fmla="*/ 266322 h 2235200"/>
                <a:gd name="connsiteX2" fmla="*/ 266322 w 2235200"/>
                <a:gd name="connsiteY2" fmla="*/ 1842392 h 2235200"/>
                <a:gd name="connsiteX3" fmla="*/ 1842393 w 2235200"/>
                <a:gd name="connsiteY3" fmla="*/ 1970027 h 2235200"/>
                <a:gd name="connsiteX4" fmla="*/ 1970027 w 2235200"/>
                <a:gd name="connsiteY4" fmla="*/ 393957 h 2235200"/>
                <a:gd name="connsiteX5" fmla="*/ 464442 w 2235200"/>
                <a:gd name="connsiteY5" fmla="*/ 349507 h 2235200"/>
                <a:gd name="connsiteX6" fmla="*/ 1777622 w 2235200"/>
                <a:gd name="connsiteY6" fmla="*/ 354587 h 2235200"/>
                <a:gd name="connsiteX7" fmla="*/ 160277 w 2235200"/>
                <a:gd name="connsiteY7" fmla="*/ 802262 h 2235200"/>
                <a:gd name="connsiteX8" fmla="*/ 464442 w 2235200"/>
                <a:gd name="connsiteY8" fmla="*/ 349507 h 2235200"/>
                <a:gd name="connsiteX9" fmla="*/ 349507 w 2235200"/>
                <a:gd name="connsiteY9" fmla="*/ 1771907 h 2235200"/>
                <a:gd name="connsiteX10" fmla="*/ 116462 w 2235200"/>
                <a:gd name="connsiteY10" fmla="*/ 1001652 h 2235200"/>
                <a:gd name="connsiteX11" fmla="*/ 660657 w 2235200"/>
                <a:gd name="connsiteY11" fmla="*/ 1279782 h 2235200"/>
                <a:gd name="connsiteX12" fmla="*/ 748922 w 2235200"/>
                <a:gd name="connsiteY12" fmla="*/ 1204852 h 2235200"/>
                <a:gd name="connsiteX13" fmla="*/ 197107 w 2235200"/>
                <a:gd name="connsiteY13" fmla="*/ 922912 h 2235200"/>
                <a:gd name="connsiteX14" fmla="*/ 199647 w 2235200"/>
                <a:gd name="connsiteY14" fmla="*/ 904497 h 2235200"/>
                <a:gd name="connsiteX15" fmla="*/ 1767462 w 2235200"/>
                <a:gd name="connsiteY15" fmla="*/ 470157 h 2235200"/>
                <a:gd name="connsiteX16" fmla="*/ 1779527 w 2235200"/>
                <a:gd name="connsiteY16" fmla="*/ 484762 h 2235200"/>
                <a:gd name="connsiteX17" fmla="*/ 775592 w 2235200"/>
                <a:gd name="connsiteY17" fmla="*/ 1338202 h 2235200"/>
                <a:gd name="connsiteX18" fmla="*/ 1072137 w 2235200"/>
                <a:gd name="connsiteY18" fmla="*/ 2125602 h 2235200"/>
                <a:gd name="connsiteX19" fmla="*/ 349507 w 2235200"/>
                <a:gd name="connsiteY19" fmla="*/ 1771907 h 2235200"/>
                <a:gd name="connsiteX20" fmla="*/ 1162943 w 2235200"/>
                <a:gd name="connsiteY20" fmla="*/ 2058927 h 2235200"/>
                <a:gd name="connsiteX21" fmla="*/ 903862 w 2235200"/>
                <a:gd name="connsiteY21" fmla="*/ 1371857 h 2235200"/>
                <a:gd name="connsiteX22" fmla="*/ 1850012 w 2235200"/>
                <a:gd name="connsiteY22" fmla="*/ 567947 h 2235200"/>
                <a:gd name="connsiteX23" fmla="*/ 1862077 w 2235200"/>
                <a:gd name="connsiteY23" fmla="*/ 582552 h 2235200"/>
                <a:gd name="connsiteX24" fmla="*/ 1181357 w 2235200"/>
                <a:gd name="connsiteY24" fmla="*/ 2059563 h 2235200"/>
                <a:gd name="connsiteX25" fmla="*/ 1162943 w 2235200"/>
                <a:gd name="connsiteY25" fmla="*/ 2058927 h 2235200"/>
                <a:gd name="connsiteX26" fmla="*/ 1771907 w 2235200"/>
                <a:gd name="connsiteY26" fmla="*/ 1886842 h 2235200"/>
                <a:gd name="connsiteX27" fmla="*/ 1275972 w 2235200"/>
                <a:gd name="connsiteY27" fmla="*/ 2114172 h 2235200"/>
                <a:gd name="connsiteX28" fmla="*/ 1978282 w 2235200"/>
                <a:gd name="connsiteY28" fmla="*/ 590172 h 2235200"/>
                <a:gd name="connsiteX29" fmla="*/ 1771907 w 2235200"/>
                <a:gd name="connsiteY29" fmla="*/ 1886842 h 223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235200" h="2235200">
                  <a:moveTo>
                    <a:pt x="1970027" y="393957"/>
                  </a:moveTo>
                  <a:cubicBezTo>
                    <a:pt x="1569977" y="-76578"/>
                    <a:pt x="864492" y="-133728"/>
                    <a:pt x="393957" y="266322"/>
                  </a:cubicBezTo>
                  <a:cubicBezTo>
                    <a:pt x="-76578" y="666372"/>
                    <a:pt x="-133728" y="1371857"/>
                    <a:pt x="266322" y="1842392"/>
                  </a:cubicBezTo>
                  <a:cubicBezTo>
                    <a:pt x="666372" y="2312927"/>
                    <a:pt x="1371857" y="2370077"/>
                    <a:pt x="1842393" y="1970027"/>
                  </a:cubicBezTo>
                  <a:cubicBezTo>
                    <a:pt x="2312927" y="1569977"/>
                    <a:pt x="2370077" y="864492"/>
                    <a:pt x="1970027" y="393957"/>
                  </a:cubicBezTo>
                  <a:close/>
                  <a:moveTo>
                    <a:pt x="464442" y="349507"/>
                  </a:moveTo>
                  <a:cubicBezTo>
                    <a:pt x="847982" y="23117"/>
                    <a:pt x="1407418" y="34547"/>
                    <a:pt x="1777622" y="354587"/>
                  </a:cubicBezTo>
                  <a:lnTo>
                    <a:pt x="160277" y="802262"/>
                  </a:lnTo>
                  <a:cubicBezTo>
                    <a:pt x="216157" y="631447"/>
                    <a:pt x="318392" y="473967"/>
                    <a:pt x="464442" y="349507"/>
                  </a:cubicBezTo>
                  <a:close/>
                  <a:moveTo>
                    <a:pt x="349507" y="1771907"/>
                  </a:moveTo>
                  <a:cubicBezTo>
                    <a:pt x="160912" y="1550292"/>
                    <a:pt x="85347" y="1270257"/>
                    <a:pt x="116462" y="1001652"/>
                  </a:cubicBezTo>
                  <a:lnTo>
                    <a:pt x="660657" y="1279782"/>
                  </a:lnTo>
                  <a:lnTo>
                    <a:pt x="748922" y="1204852"/>
                  </a:lnTo>
                  <a:lnTo>
                    <a:pt x="197107" y="922912"/>
                  </a:lnTo>
                  <a:cubicBezTo>
                    <a:pt x="198377" y="914022"/>
                    <a:pt x="198377" y="913387"/>
                    <a:pt x="199647" y="904497"/>
                  </a:cubicBezTo>
                  <a:lnTo>
                    <a:pt x="1767462" y="470157"/>
                  </a:lnTo>
                  <a:lnTo>
                    <a:pt x="1779527" y="484762"/>
                  </a:lnTo>
                  <a:lnTo>
                    <a:pt x="775592" y="1338202"/>
                  </a:lnTo>
                  <a:lnTo>
                    <a:pt x="1072137" y="2125602"/>
                  </a:lnTo>
                  <a:cubicBezTo>
                    <a:pt x="802262" y="2113538"/>
                    <a:pt x="537467" y="1993522"/>
                    <a:pt x="349507" y="1771907"/>
                  </a:cubicBezTo>
                  <a:close/>
                  <a:moveTo>
                    <a:pt x="1162943" y="2058927"/>
                  </a:moveTo>
                  <a:lnTo>
                    <a:pt x="903862" y="1371857"/>
                  </a:lnTo>
                  <a:lnTo>
                    <a:pt x="1850012" y="567947"/>
                  </a:lnTo>
                  <a:lnTo>
                    <a:pt x="1862077" y="582552"/>
                  </a:lnTo>
                  <a:lnTo>
                    <a:pt x="1181357" y="2059563"/>
                  </a:lnTo>
                  <a:cubicBezTo>
                    <a:pt x="1172468" y="2058927"/>
                    <a:pt x="1171832" y="2058927"/>
                    <a:pt x="1162943" y="2058927"/>
                  </a:cubicBezTo>
                  <a:close/>
                  <a:moveTo>
                    <a:pt x="1771907" y="1886842"/>
                  </a:moveTo>
                  <a:cubicBezTo>
                    <a:pt x="1625222" y="2011302"/>
                    <a:pt x="1453137" y="2086867"/>
                    <a:pt x="1275972" y="2114172"/>
                  </a:cubicBezTo>
                  <a:lnTo>
                    <a:pt x="1978282" y="590172"/>
                  </a:lnTo>
                  <a:cubicBezTo>
                    <a:pt x="2234187" y="1006732"/>
                    <a:pt x="2155447" y="1561088"/>
                    <a:pt x="1771907" y="1886842"/>
                  </a:cubicBezTo>
                  <a:close/>
                </a:path>
              </a:pathLst>
            </a:custGeom>
            <a:solidFill>
              <a:srgbClr val="0001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9845085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46.xml"/><Relationship Id="rId47" Type="http://schemas.openxmlformats.org/officeDocument/2006/relationships/theme" Target="../theme/theme1.xml"/><Relationship Id="rId48" Type="http://schemas.openxmlformats.org/officeDocument/2006/relationships/tags" Target="../tags/tag2.xml"/><Relationship Id="rId49" Type="http://schemas.openxmlformats.org/officeDocument/2006/relationships/tags" Target="../tags/tag3.xml"/><Relationship Id="rId50" Type="http://schemas.openxmlformats.org/officeDocument/2006/relationships/tags" Target="../tags/tag4.xml"/><Relationship Id="rId51" Type="http://schemas.openxmlformats.org/officeDocument/2006/relationships/tags" Target="../tags/tag5.xml"/><Relationship Id="rId52" Type="http://schemas.openxmlformats.org/officeDocument/2006/relationships/tags" Target="../tags/tag6.xml"/><Relationship Id="rId53" Type="http://schemas.openxmlformats.org/officeDocument/2006/relationships/tags" Target="../tags/tag7.xml"/><Relationship Id="rId54" Type="http://schemas.openxmlformats.org/officeDocument/2006/relationships/oleObject" Target="../embeddings/oleObject1.bin"/><Relationship Id="rId5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BAEB2F0-B790-3D86-AB88-746E62ED0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51289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84" imgH="385" progId="TCLayout.ActiveDocument.1">
                  <p:embed/>
                </p:oleObj>
              </mc:Choice>
              <mc:Fallback>
                <p:oleObj name="think-cell Slide" r:id="rId54" imgW="384" imgH="38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AEB2F0-B790-3D86-AB88-746E62ED0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9"/>
            </p:custDataLst>
          </p:nvPr>
        </p:nvSpPr>
        <p:spPr>
          <a:xfrm>
            <a:off x="765351" y="958738"/>
            <a:ext cx="10644969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0"/>
            </p:custDataLst>
          </p:nvPr>
        </p:nvSpPr>
        <p:spPr>
          <a:xfrm>
            <a:off x="766800" y="2533182"/>
            <a:ext cx="10646555" cy="3556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A587AD2-7608-C740-94C0-477F880929CF}"/>
              </a:ext>
            </a:extLst>
          </p:cNvPr>
          <p:cNvSpPr>
            <a:spLocks noGrp="1"/>
          </p:cNvSpPr>
          <p:nvPr>
            <p:ph type="dt" sz="half" idx="2"/>
            <p:custDataLst>
              <p:tags r:id="rId51"/>
            </p:custDataLst>
          </p:nvPr>
        </p:nvSpPr>
        <p:spPr>
          <a:xfrm>
            <a:off x="964590" y="6445090"/>
            <a:ext cx="482610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81D2AE0D-F6C6-486F-8D2A-7AA8564FC235}" type="datetime1">
              <a:rPr lang="en-US" smtClean="0"/>
              <a:t>8/5/2025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504B524-9F21-2447-900A-B939CB370B7C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2"/>
            </p:custDataLst>
          </p:nvPr>
        </p:nvSpPr>
        <p:spPr>
          <a:xfrm>
            <a:off x="1447200" y="6445090"/>
            <a:ext cx="4396388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cap="all" spc="20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E644EAF-E825-7149-9716-9B8A96417EF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53"/>
            </p:custDataLst>
          </p:nvPr>
        </p:nvSpPr>
        <p:spPr>
          <a:xfrm>
            <a:off x="766800" y="6445090"/>
            <a:ext cx="191505" cy="190501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7329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30" r:id="rId2"/>
    <p:sldLayoutId id="2147483731" r:id="rId3"/>
    <p:sldLayoutId id="2147483713" r:id="rId4"/>
    <p:sldLayoutId id="2147483732" r:id="rId5"/>
    <p:sldLayoutId id="2147483656" r:id="rId6"/>
    <p:sldLayoutId id="2147483659" r:id="rId7"/>
    <p:sldLayoutId id="2147483705" r:id="rId8"/>
    <p:sldLayoutId id="2147483726" r:id="rId9"/>
    <p:sldLayoutId id="2147483727" r:id="rId10"/>
    <p:sldLayoutId id="2147483660" r:id="rId11"/>
    <p:sldLayoutId id="2147483664" r:id="rId12"/>
    <p:sldLayoutId id="2147483688" r:id="rId13"/>
    <p:sldLayoutId id="2147483678" r:id="rId14"/>
    <p:sldLayoutId id="2147483695" r:id="rId15"/>
    <p:sldLayoutId id="2147483703" r:id="rId16"/>
    <p:sldLayoutId id="2147483700" r:id="rId17"/>
    <p:sldLayoutId id="2147483697" r:id="rId18"/>
    <p:sldLayoutId id="2147483719" r:id="rId19"/>
    <p:sldLayoutId id="2147483734" r:id="rId20"/>
    <p:sldLayoutId id="2147483692" r:id="rId21"/>
    <p:sldLayoutId id="2147483706" r:id="rId22"/>
    <p:sldLayoutId id="2147483691" r:id="rId23"/>
    <p:sldLayoutId id="2147483735" r:id="rId24"/>
    <p:sldLayoutId id="2147483655" r:id="rId25"/>
    <p:sldLayoutId id="2147483687" r:id="rId26"/>
    <p:sldLayoutId id="2147483707" r:id="rId27"/>
    <p:sldLayoutId id="2147483679" r:id="rId28"/>
    <p:sldLayoutId id="2147483710" r:id="rId29"/>
    <p:sldLayoutId id="2147483721" r:id="rId30"/>
    <p:sldLayoutId id="2147483712" r:id="rId31"/>
    <p:sldLayoutId id="2147483723" r:id="rId32"/>
    <p:sldLayoutId id="2147483709" r:id="rId33"/>
    <p:sldLayoutId id="2147483711" r:id="rId34"/>
    <p:sldLayoutId id="2147483714" r:id="rId35"/>
    <p:sldLayoutId id="2147483658" r:id="rId36"/>
    <p:sldLayoutId id="2147483694" r:id="rId37"/>
    <p:sldLayoutId id="2147483717" r:id="rId38"/>
    <p:sldLayoutId id="2147483728" r:id="rId39"/>
    <p:sldLayoutId id="2147483729" r:id="rId40"/>
    <p:sldLayoutId id="2147483718" r:id="rId41"/>
    <p:sldLayoutId id="2147483704" r:id="rId42"/>
    <p:sldLayoutId id="2147483724" r:id="rId43"/>
    <p:sldLayoutId id="2147483725" r:id="rId44"/>
    <p:sldLayoutId id="2147483716" r:id="rId45"/>
    <p:sldLayoutId id="2147483676" r:id="rId46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kern="1200" spc="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tabLst/>
        <a:defRPr sz="1500" kern="12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16000" algn="l" defTabSz="914400" rtl="0" eaLnBrk="1" latinLnBrk="0" hangingPunct="1">
        <a:lnSpc>
          <a:spcPct val="90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tabLst/>
        <a:defRPr sz="1250" kern="12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tabLst/>
        <a:defRPr sz="1000" kern="12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99" userDrawn="1">
          <p15:clr>
            <a:srgbClr val="FBAE40"/>
          </p15:clr>
        </p15:guide>
        <p15:guide id="7" pos="481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  <p15:guide id="11" orient="horz" pos="546" userDrawn="1">
          <p15:clr>
            <a:srgbClr val="FBAE40"/>
          </p15:clr>
        </p15:guide>
        <p15:guide id="12" pos="3681" userDrawn="1">
          <p15:clr>
            <a:srgbClr val="FBAE40"/>
          </p15:clr>
        </p15:guide>
        <p15:guide id="13" pos="3840" userDrawn="1">
          <p15:clr>
            <a:srgbClr val="FBAE40"/>
          </p15:clr>
        </p15:guide>
        <p15:guide id="15" pos="7192" userDrawn="1">
          <p15:clr>
            <a:srgbClr val="FBAE40"/>
          </p15:clr>
        </p15:guide>
        <p15:guide id="29" orient="horz" pos="872" userDrawn="1">
          <p15:clr>
            <a:srgbClr val="FBAE40"/>
          </p15:clr>
        </p15:guide>
        <p15:guide id="36" orient="horz" pos="1586" userDrawn="1">
          <p15:clr>
            <a:srgbClr val="FBAE40"/>
          </p15:clr>
        </p15:guide>
        <p15:guide id="37" pos="2239" userDrawn="1">
          <p15:clr>
            <a:srgbClr val="FBAE40"/>
          </p15:clr>
        </p15:guide>
        <p15:guide id="39" pos="1922" userDrawn="1">
          <p15:clr>
            <a:srgbClr val="FBAE40"/>
          </p15:clr>
        </p15:guide>
        <p15:guide id="40" pos="5442" userDrawn="1">
          <p15:clr>
            <a:srgbClr val="FBAE40"/>
          </p15:clr>
        </p15:guide>
        <p15:guide id="41" pos="5758" userDrawn="1">
          <p15:clr>
            <a:srgbClr val="FBAE40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1403687"/>
      </p:ext>
    </p:extLst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13" sz="quarter"/>
          </p:nvPr>
        </p:nvSpPr>
        <p:spPr/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Welco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r>
              <a:t>We are pioneers in sustainable engineering.</a:t>
            </a:r>
          </a:p>
          <a:p>
            <a:pPr/>
            <a:r>
              <a:t>Founded: 1999</a:t>
            </a:r>
          </a:p>
          <a:p>
            <a:pPr/>
            <a:r>
              <a:t>Headquarters: Oslo, Norway</a:t>
            </a:r>
          </a:p>
          <a:p>
            <a:pPr/>
            <a:r>
              <a:t>Focus: Green infrastructur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idx="22" sz="quarter"/>
          </p:nvPr>
        </p:nvSpPr>
        <p:spPr/>
      </p:sp>
      <p:pic>
        <p:nvPicPr>
          <p:cNvPr id="6" name="Picture 5" descr="cat_on_sof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1828800"/>
            <a:ext cx="5715000" cy="32004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13" sz="quarter"/>
          </p:nvPr>
        </p:nvSpPr>
        <p:spPr/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Our Miss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r>
              <a:t>To build a better world using eco-friendly technologies.</a:t>
            </a:r>
          </a:p>
          <a:p>
            <a:pPr/>
            <a:r>
              <a:t>Core Value: Sustainability</a:t>
            </a:r>
          </a:p>
          <a:p>
            <a:pPr/>
            <a:r>
              <a:t>Approach: Collaborative</a:t>
            </a:r>
          </a:p>
          <a:p>
            <a:pPr/>
            <a:r>
              <a:t>Impact: Globa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idx="22" sz="quarter"/>
          </p:nvPr>
        </p:nvSpPr>
        <p:spPr/>
      </p:sp>
      <p:pic>
        <p:nvPicPr>
          <p:cNvPr id="6" name="Picture 5" descr="cat_on_sof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1828800"/>
            <a:ext cx="5715000" cy="32004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13" sz="quarter"/>
          </p:nvPr>
        </p:nvSpPr>
        <p:spPr/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ervic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r>
              <a:t>We provide consulting, design, and execution.</a:t>
            </a:r>
          </a:p>
          <a:p>
            <a:pPr/>
            <a:r>
              <a:t>Consulting: Feasibility &amp; Planning</a:t>
            </a:r>
          </a:p>
          <a:p>
            <a:pPr/>
            <a:r>
              <a:t>Design: Modern &amp; Compliant</a:t>
            </a:r>
          </a:p>
          <a:p>
            <a:pPr/>
            <a:r>
              <a:t>Execution: Efficient &amp; On-tim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idx="22" sz="quarter"/>
          </p:nvPr>
        </p:nvSpPr>
        <p:spPr/>
      </p:sp>
      <p:pic>
        <p:nvPicPr>
          <p:cNvPr id="6" name="Picture 5" descr="cat_on_sof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1828800"/>
            <a:ext cx="5715000" cy="32004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13" sz="quarter"/>
          </p:nvPr>
        </p:nvSpPr>
        <p:spPr/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Our Team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r>
              <a:t>Led by innovators and experts in the field.</a:t>
            </a:r>
          </a:p>
          <a:p>
            <a:pPr/>
            <a:r>
              <a:t>Employees: 200+</a:t>
            </a:r>
          </a:p>
          <a:p>
            <a:pPr/>
            <a:r>
              <a:t>Experts: 50+ Engineers</a:t>
            </a:r>
          </a:p>
          <a:p>
            <a:pPr/>
            <a:r>
              <a:t>Offices: 15 Worldwid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idx="22" sz="quarter"/>
          </p:nvPr>
        </p:nvSpPr>
        <p:spPr/>
      </p:sp>
      <p:pic>
        <p:nvPicPr>
          <p:cNvPr id="6" name="Picture 5" descr="cat_on_sof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1828800"/>
            <a:ext cx="5715000" cy="32004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13" sz="quarter"/>
          </p:nvPr>
        </p:nvSpPr>
        <p:spPr/>
        <p:txBody>
          <a:bodyPr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ontact U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6" sz="quarter"/>
          </p:nvPr>
        </p:nvSpPr>
        <p:spPr/>
        <p:txBody>
          <a:bodyPr/>
          <a:lstStyle/>
          <a:p>
            <a:r>
              <a:t>Let’s collaborate on your next project!</a:t>
            </a:r>
          </a:p>
          <a:p>
            <a:pPr/>
            <a:r>
              <a:t>Email: contact@greenbuild.com</a:t>
            </a:r>
          </a:p>
          <a:p>
            <a:pPr/>
            <a:r>
              <a:t>Phone: +47 123 456 78</a:t>
            </a:r>
          </a:p>
          <a:p>
            <a:pPr/>
            <a:r>
              <a:t>Website: greenbuild.com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idx="22" sz="quarter"/>
          </p:nvPr>
        </p:nvSpPr>
        <p:spPr/>
      </p:sp>
      <p:pic>
        <p:nvPicPr>
          <p:cNvPr id="6" name="Picture 5" descr="cat_on_sof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5200" y="1828800"/>
            <a:ext cx="5715000" cy="32004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INGO_COUNT" val="83"/>
  <p:tag name="LANG_DEF" val="2057"/>
  <p:tag name="LANG_NAME" val="English U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AFRY">
  <a:themeElements>
    <a:clrScheme name="Custom 1">
      <a:dk1>
        <a:srgbClr val="000000"/>
      </a:dk1>
      <a:lt1>
        <a:srgbClr val="FFFFFF"/>
      </a:lt1>
      <a:dk2>
        <a:srgbClr val="323232"/>
      </a:dk2>
      <a:lt2>
        <a:srgbClr val="E9E6E0"/>
      </a:lt2>
      <a:accent1>
        <a:srgbClr val="EAFF6E"/>
      </a:accent1>
      <a:accent2>
        <a:srgbClr val="66615F"/>
      </a:accent2>
      <a:accent3>
        <a:srgbClr val="D1EDD5"/>
      </a:accent3>
      <a:accent4>
        <a:srgbClr val="4D657C"/>
      </a:accent4>
      <a:accent5>
        <a:srgbClr val="DBCFE2"/>
      </a:accent5>
      <a:accent6>
        <a:srgbClr val="775F5F"/>
      </a:accent6>
      <a:hlink>
        <a:srgbClr val="7E7E7E"/>
      </a:hlink>
      <a:folHlink>
        <a:srgbClr val="7E7E7E"/>
      </a:folHlink>
    </a:clrScheme>
    <a:fontScheme name="AFRY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tIns="90000" bIns="90000" rtlCol="0" anchor="ctr"/>
      <a:lstStyle>
        <a:defPPr algn="ctr">
          <a:lnSpc>
            <a:spcPct val="110000"/>
          </a:lnSpc>
          <a:spcBef>
            <a:spcPts val="1000"/>
          </a:spcBef>
          <a:spcAft>
            <a:spcPts val="200"/>
          </a:spcAft>
          <a:defRPr sz="1500" spc="4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spcAft>
            <a:spcPts val="200"/>
          </a:spcAft>
          <a:buFont typeface="Verdana" panose="020B0604030504040204" pitchFamily="34" charset="0"/>
          <a:buChar char="—"/>
          <a:defRPr sz="1500" spc="40" dirty="0" err="1" smtClean="0"/>
        </a:defPPr>
      </a:lstStyle>
    </a:txDef>
  </a:objectDefaults>
  <a:extraClrSchemeLst/>
  <a:custClrLst>
    <a:custClr name="Functional Yellow Dark">
      <a:srgbClr val="B5B557"/>
    </a:custClr>
    <a:custClr name="Functional Brown Dark">
      <a:srgbClr val="66615F"/>
    </a:custClr>
    <a:custClr name="Functional Green Dark">
      <a:srgbClr val="507059"/>
    </a:custClr>
    <a:custClr name="Functional Blue Dark">
      <a:srgbClr val="4D657C"/>
    </a:custClr>
    <a:custClr name="Functional Lilac Dark">
      <a:srgbClr val="988EAF"/>
    </a:custClr>
    <a:custClr name="Functional Taupe Dark">
      <a:srgbClr val="775F5F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Functional Yellow Light">
      <a:srgbClr val="EAFF6E"/>
    </a:custClr>
    <a:custClr name="Functional Brown Light">
      <a:srgbClr val="DAD8D6"/>
    </a:custClr>
    <a:custClr name="Functional Green Light">
      <a:srgbClr val="D1EDD5"/>
    </a:custClr>
    <a:custClr name="Functional Blue Light">
      <a:srgbClr val="D8E6EF"/>
    </a:custClr>
    <a:custClr name="Functional Lilac Light">
      <a:srgbClr val="DBCFE2"/>
    </a:custClr>
    <a:custClr name="Functional Taupe Light">
      <a:srgbClr val="C5B2B4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Green 1">
      <a:srgbClr val="273D29"/>
    </a:custClr>
    <a:custClr name="Expanded Functional Green 2">
      <a:srgbClr val="507059"/>
    </a:custClr>
    <a:custClr name="Expanded Functional Green 3">
      <a:srgbClr val="A3CEA8"/>
    </a:custClr>
    <a:custClr name="Expanded Functional Green 4">
      <a:srgbClr val="D1EDD5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  <a:custClr name="Expanded Functional Blue 1">
      <a:srgbClr val="1C333D"/>
    </a:custClr>
    <a:custClr name="Expanded Functional Blue 2">
      <a:srgbClr val="4D657C"/>
    </a:custClr>
    <a:custClr name="Expanded Functional Blue 3">
      <a:srgbClr val="A3B9CC"/>
    </a:custClr>
    <a:custClr name="Expanded Functional Blue 4">
      <a:srgbClr val="D8E6EF"/>
    </a:custClr>
    <a:custClr name="Afry Grey 3">
      <a:srgbClr val="7E7E7E"/>
    </a:custClr>
    <a:custClr name="Afry Grey 5">
      <a:srgbClr val="D0D0D0"/>
    </a:custClr>
    <a:custClr name="Empty">
      <a:srgbClr val="F4EFEE"/>
    </a:custClr>
    <a:custClr name="Empty">
      <a:srgbClr val="F4EFEE"/>
    </a:custClr>
    <a:custClr name="Empty">
      <a:srgbClr val="F4EFEE"/>
    </a:custClr>
    <a:custClr name="Empty">
      <a:srgbClr val="F4EFEE"/>
    </a:custClr>
  </a:custClrLst>
  <a:extLst>
    <a:ext uri="{05A4C25C-085E-4340-85A3-A5531E510DB2}">
      <thm15:themeFamily xmlns:thm15="http://schemas.microsoft.com/office/thememl/2012/main" name="Afry_PPT_Best_Practice" id="{933C5D54-1735-45A4-9D98-239300ADF44C}" vid="{E914AD99-D921-457F-BCAD-80FF2093B3EF}"/>
    </a:ext>
  </a:extLst>
</a:theme>
</file>

<file path=ppt/theme/theme2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FRY_colors">
      <a:dk1>
        <a:srgbClr val="000000"/>
      </a:dk1>
      <a:lt1>
        <a:srgbClr val="FFFFFF"/>
      </a:lt1>
      <a:dk2>
        <a:srgbClr val="505050"/>
      </a:dk2>
      <a:lt2>
        <a:srgbClr val="D0D0D0"/>
      </a:lt2>
      <a:accent1>
        <a:srgbClr val="E9E6E0"/>
      </a:accent1>
      <a:accent2>
        <a:srgbClr val="504030"/>
      </a:accent2>
      <a:accent3>
        <a:srgbClr val="405070"/>
      </a:accent3>
      <a:accent4>
        <a:srgbClr val="405040"/>
      </a:accent4>
      <a:accent5>
        <a:srgbClr val="F3FFAF"/>
      </a:accent5>
      <a:accent6>
        <a:srgbClr val="F8F8F8"/>
      </a:accent6>
      <a:hlink>
        <a:srgbClr val="7E7E7E"/>
      </a:hlink>
      <a:folHlink>
        <a:srgbClr val="F3FFAF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1C25AAB062B74D900FCB2EF0D41F67" ma:contentTypeVersion="13" ma:contentTypeDescription="Skapa ett nytt dokument." ma:contentTypeScope="" ma:versionID="72780c7715976f08b8cec2c837330263">
  <xsd:schema xmlns:xsd="http://www.w3.org/2001/XMLSchema" xmlns:xs="http://www.w3.org/2001/XMLSchema" xmlns:p="http://schemas.microsoft.com/office/2006/metadata/properties" xmlns:ns2="251ff309-8909-4ea5-8616-e172eddd31b9" xmlns:ns3="8ba44817-df65-4f7f-a544-da7bf055ce82" targetNamespace="http://schemas.microsoft.com/office/2006/metadata/properties" ma:root="true" ma:fieldsID="5613ebb0c8cf4893aed05a332eac0823" ns2:_="" ns3:_="">
    <xsd:import namespace="251ff309-8909-4ea5-8616-e172eddd31b9"/>
    <xsd:import namespace="8ba44817-df65-4f7f-a544-da7bf055ce8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1ff309-8909-4ea5-8616-e172eddd31b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a44817-df65-4f7f-a544-da7bf055ce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1D477E-F296-41A8-893C-879E10C99120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78e65c4d-94ae-4083-b68c-3f366152971a"/>
    <ds:schemaRef ds:uri="37457ddd-020d-4ea3-861b-b37f22d50489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E370E00-5C6D-44C1-8ACC-A41951058B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1ff309-8909-4ea5-8616-e172eddd31b9"/>
    <ds:schemaRef ds:uri="8ba44817-df65-4f7f-a544-da7bf055ce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6F1F0A6-3FC4-4EEA-89D4-D0645533CB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FRY PPT Template</Template>
  <TotalTime>0</TotalTime>
  <Words>1</Words>
  <Application>Microsoft Office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Verdana</vt:lpstr>
      <vt:lpstr>AFRY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io Castellon</dc:creator>
  <cp:lastModifiedBy>Dario Castellon</cp:lastModifiedBy>
  <cp:revision>2</cp:revision>
  <cp:lastPrinted>2019-11-18T09:09:30Z</cp:lastPrinted>
  <dcterms:created xsi:type="dcterms:W3CDTF">2025-08-05T13:50:25Z</dcterms:created>
  <dcterms:modified xsi:type="dcterms:W3CDTF">2025-08-05T13:5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1C25AAB062B74D900FCB2EF0D41F67</vt:lpwstr>
  </property>
  <property fmtid="{D5CDD505-2E9C-101B-9397-08002B2CF9AE}" pid="3" name="BT_Audience">
    <vt:lpwstr>3;#All|37f0fd17-8dee-49d9-9590-03c65e9ec097</vt:lpwstr>
  </property>
  <property fmtid="{D5CDD505-2E9C-101B-9397-08002B2CF9AE}" pid="4" name="Template type">
    <vt:lpwstr>12;#Template|bc30b1cc-5ae3-4574-9d94-05a61075c68e</vt:lpwstr>
  </property>
</Properties>
</file>